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media/image59.jpg" ContentType="image/jpg"/>
  <Override PartName="/ppt/media/image62.jpg" ContentType="image/jpg"/>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18" r:id="rId5"/>
    <p:sldMasterId id="2147483732" r:id="rId6"/>
  </p:sldMasterIdLst>
  <p:notesMasterIdLst>
    <p:notesMasterId r:id="rId39"/>
  </p:notesMasterIdLst>
  <p:sldIdLst>
    <p:sldId id="562" r:id="rId7"/>
    <p:sldId id="4345" r:id="rId8"/>
    <p:sldId id="371" r:id="rId9"/>
    <p:sldId id="2878" r:id="rId10"/>
    <p:sldId id="4383" r:id="rId11"/>
    <p:sldId id="4385" r:id="rId12"/>
    <p:sldId id="2147475749" r:id="rId13"/>
    <p:sldId id="2147475750" r:id="rId14"/>
    <p:sldId id="2147475752" r:id="rId15"/>
    <p:sldId id="4353" r:id="rId16"/>
    <p:sldId id="2147475825" r:id="rId17"/>
    <p:sldId id="4320" r:id="rId18"/>
    <p:sldId id="2147475828" r:id="rId19"/>
    <p:sldId id="2147475829" r:id="rId20"/>
    <p:sldId id="2145705398" r:id="rId21"/>
    <p:sldId id="2147475844" r:id="rId22"/>
    <p:sldId id="2147475830" r:id="rId23"/>
    <p:sldId id="2147475834" r:id="rId24"/>
    <p:sldId id="2147475831" r:id="rId25"/>
    <p:sldId id="2147475832" r:id="rId26"/>
    <p:sldId id="2145705433" r:id="rId27"/>
    <p:sldId id="2147475845" r:id="rId28"/>
    <p:sldId id="2145705419" r:id="rId29"/>
    <p:sldId id="2145705423" r:id="rId30"/>
    <p:sldId id="2147475836" r:id="rId31"/>
    <p:sldId id="2147475837" r:id="rId32"/>
    <p:sldId id="2145705431" r:id="rId33"/>
    <p:sldId id="2147475838" r:id="rId34"/>
    <p:sldId id="2147475841" r:id="rId35"/>
    <p:sldId id="2147475839" r:id="rId36"/>
    <p:sldId id="2147475833" r:id="rId37"/>
    <p:sldId id="2147475842" r:id="rId38"/>
  </p:sldIdLst>
  <p:sldSz cx="17557750" cy="9874250"/>
  <p:notesSz cx="6858000" cy="9144000"/>
  <p:embeddedFontLst>
    <p:embeddedFont>
      <p:font typeface="Lato" panose="020F0502020204030203" pitchFamily="34" charset="0"/>
      <p:regular r:id="rId40"/>
      <p:bold r:id="rId41"/>
      <p:italic r:id="rId42"/>
      <p:boldItalic r:id="rId43"/>
    </p:embeddedFont>
    <p:embeddedFont>
      <p:font typeface="Open Sans" panose="020B0606030504020204" pitchFamily="34" charset="0"/>
      <p:regular r:id="rId44"/>
      <p:bold r:id="rId45"/>
      <p:italic r:id="rId46"/>
      <p:boldItalic r:id="rId47"/>
    </p:embeddedFont>
    <p:embeddedFont>
      <p:font typeface="Verdana" panose="020B0604030504040204" pitchFamily="34" charset="0"/>
      <p:regular r:id="rId48"/>
      <p:bold r:id="rId49"/>
      <p:italic r:id="rId50"/>
      <p:boldItalic r:id="rId51"/>
    </p:embeddedFont>
    <p:embeddedFont>
      <p:font typeface="Votorantim Sans" panose="020B0604020202020204" charset="0"/>
      <p:regular r:id="rId52"/>
      <p:bold r:id="rId53"/>
      <p:italic r:id="rId54"/>
      <p:boldItalic r:id="rId55"/>
    </p:embeddedFont>
    <p:embeddedFont>
      <p:font typeface="Votorantim Sans Black" panose="020B0604020202020204" charset="0"/>
      <p:bold r:id="rId56"/>
      <p:italic r:id="rId57"/>
      <p:boldItalic r:id="rId58"/>
    </p:embeddedFont>
    <p:embeddedFont>
      <p:font typeface="Votorantim Sans Light" panose="020B0604020202020204" charset="0"/>
      <p:regular r:id="rId59"/>
      <p:italic r:id="rId60"/>
    </p:embeddedFont>
    <p:embeddedFont>
      <p:font typeface="Votorantim Sans Medium" panose="020B0604020202020204" charset="0"/>
      <p:regular r:id="rId61"/>
    </p:embeddedFont>
  </p:embeddedFontLst>
  <p:defaultTextStyle>
    <a:defPPr>
      <a:defRPr lang="en-US"/>
    </a:defPPr>
    <a:lvl1pPr algn="l" defTabSz="45720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defTabSz="45720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defTabSz="45720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defTabSz="45720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defTabSz="457200"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052C22E-45D1-9708-0D10-1AD0D7C43DCC}" name="Magaly Bardales Rojas" initials="MBR" userId="S::mbardales@nexaresources.com::2bc49b5b-65c4-48eb-bf71-ef3b9acdc54e" providerId="AD"/>
  <p188:author id="{B78E9734-5932-4835-9637-17BEBD0F01C6}" name="Ana Patricia Uculmana Ratto" initials="AU" userId="S::puculmana@nexaresources.com::c3125d88-ead6-48f5-8545-23b0acc97d5d" providerId="AD"/>
  <p188:author id="{E300C859-9EC7-6C8F-5B59-240509A1CA68}" name="BRYAN" initials="B" userId="S::bryan.aucca@nexaresources.com::9eff8494-825e-48c4-a4fb-637b205ee61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00"/>
    <a:srgbClr val="F9C83E"/>
    <a:srgbClr val="25D18B"/>
    <a:srgbClr val="3C3C3C"/>
    <a:srgbClr val="DBA1DB"/>
    <a:srgbClr val="DBDBDB"/>
    <a:srgbClr val="6170BD"/>
    <a:srgbClr val="4F9C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7" autoAdjust="0"/>
    <p:restoredTop sz="90678" autoAdjust="0"/>
  </p:normalViewPr>
  <p:slideViewPr>
    <p:cSldViewPr snapToGrid="0">
      <p:cViewPr varScale="1">
        <p:scale>
          <a:sx n="47" d="100"/>
          <a:sy n="47" d="100"/>
        </p:scale>
        <p:origin x="916" y="252"/>
      </p:cViewPr>
      <p:guideLst/>
    </p:cSldViewPr>
  </p:slideViewPr>
  <p:notesTextViewPr>
    <p:cViewPr>
      <p:scale>
        <a:sx n="1" d="1"/>
        <a:sy n="1" d="1"/>
      </p:scale>
      <p:origin x="0" y="0"/>
    </p:cViewPr>
  </p:notesTextViewPr>
  <p:sorterViewPr>
    <p:cViewPr>
      <p:scale>
        <a:sx n="50" d="100"/>
        <a:sy n="50" d="100"/>
      </p:scale>
      <p:origin x="0" y="-183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font" Target="fonts/font16.fntdata"/><Relationship Id="rId63"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font" Target="fonts/font19.fntdata"/><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22.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64"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font" Target="fonts/font12.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font" Target="fonts/font7.fntdata"/><Relationship Id="rId59" Type="http://schemas.openxmlformats.org/officeDocument/2006/relationships/font" Target="fonts/font20.fntdata"/><Relationship Id="rId20" Type="http://schemas.openxmlformats.org/officeDocument/2006/relationships/slide" Target="slides/slide14.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10.fntdata"/><Relationship Id="rId57" Type="http://schemas.openxmlformats.org/officeDocument/2006/relationships/font" Target="fonts/font18.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font" Target="fonts/font21.fntdata"/><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lozada\Documents\rlozada_documentos\6.%20PPT\Copia%20de%20Producci&#243;n%20-cartera%20proyec%20exploracion.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rlozada\Documents\rlozada_documentos\6.%20PPT\Copia%20de%20Producci&#243;n%20-cartera%20proyec%20exploracion.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rlozada\Documents\rlozada_documentos\6.%20PPT\Copia%20de%20Producci&#243;n%20-cartera%20proyec%20exploracion.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rlozada\Documents\rlozada_documentos\6.%20PPT\Copia%20de%20Producci&#243;n%20-cartera%20proyec%20exploracion.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FFC000"/>
            </a:solidFill>
            <a:ln>
              <a:noFill/>
            </a:ln>
            <a:effectLst/>
          </c:spPr>
          <c:invertIfNegative val="0"/>
          <c:dLbls>
            <c:dLbl>
              <c:idx val="1"/>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pPr>
                  <a:endParaRPr lang="es-PE"/>
                </a:p>
              </c:txPr>
              <c:dLblPos val="outEnd"/>
              <c:showLegendKey val="0"/>
              <c:showVal val="1"/>
              <c:showCatName val="0"/>
              <c:showSerName val="0"/>
              <c:showPercent val="0"/>
              <c:showBubbleSize val="0"/>
              <c:extLst>
                <c:ext xmlns:c15="http://schemas.microsoft.com/office/drawing/2012/chart" uri="{CE6537A1-D6FC-4f65-9D91-7224C49458BB}">
                  <c15:layout>
                    <c:manualLayout>
                      <c:w val="0.29308141244599273"/>
                      <c:h val="0.27084666240136485"/>
                    </c:manualLayout>
                  </c15:layout>
                </c:ext>
                <c:ext xmlns:c16="http://schemas.microsoft.com/office/drawing/2014/chart" uri="{C3380CC4-5D6E-409C-BE32-E72D297353CC}">
                  <c16:uniqueId val="{00000000-39B3-42DB-ACD2-0F8BE7DADDC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T$14:$T$16</c:f>
              <c:numCache>
                <c:formatCode>General</c:formatCode>
                <c:ptCount val="2"/>
                <c:pt idx="0">
                  <c:v>2000</c:v>
                </c:pt>
                <c:pt idx="1">
                  <c:v>2023</c:v>
                </c:pt>
              </c:numCache>
              <c:extLst/>
            </c:numRef>
          </c:cat>
          <c:val>
            <c:numRef>
              <c:f>Hoja1!$U$14:$U$16</c:f>
              <c:numCache>
                <c:formatCode>_-* #,##0.0_-;\-* #,##0.0_-;_-* "-"??_-;_-@_-</c:formatCode>
                <c:ptCount val="2"/>
                <c:pt idx="0">
                  <c:v>0.55392399999999997</c:v>
                </c:pt>
                <c:pt idx="1">
                  <c:v>2.7550664086840002</c:v>
                </c:pt>
              </c:numCache>
              <c:extLst/>
            </c:numRef>
          </c:val>
          <c:extLst>
            <c:ext xmlns:c16="http://schemas.microsoft.com/office/drawing/2014/chart" uri="{C3380CC4-5D6E-409C-BE32-E72D297353CC}">
              <c16:uniqueId val="{00000001-39B3-42DB-ACD2-0F8BE7DADDC9}"/>
            </c:ext>
          </c:extLst>
        </c:ser>
        <c:dLbls>
          <c:showLegendKey val="0"/>
          <c:showVal val="0"/>
          <c:showCatName val="0"/>
          <c:showSerName val="0"/>
          <c:showPercent val="0"/>
          <c:showBubbleSize val="0"/>
        </c:dLbls>
        <c:gapWidth val="70"/>
        <c:overlap val="-27"/>
        <c:axId val="250917888"/>
        <c:axId val="255321568"/>
      </c:barChart>
      <c:catAx>
        <c:axId val="250917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Lato" panose="020F0502020204030203" pitchFamily="34" charset="0"/>
                <a:ea typeface="Lato" panose="020F0502020204030203" pitchFamily="34" charset="0"/>
                <a:cs typeface="Lato" panose="020F0502020204030203" pitchFamily="34" charset="0"/>
              </a:defRPr>
            </a:pPr>
            <a:endParaRPr lang="es-PE"/>
          </a:p>
        </c:txPr>
        <c:crossAx val="255321568"/>
        <c:crosses val="autoZero"/>
        <c:auto val="1"/>
        <c:lblAlgn val="ctr"/>
        <c:lblOffset val="100"/>
        <c:noMultiLvlLbl val="0"/>
      </c:catAx>
      <c:valAx>
        <c:axId val="255321568"/>
        <c:scaling>
          <c:orientation val="minMax"/>
        </c:scaling>
        <c:delete val="1"/>
        <c:axPos val="l"/>
        <c:numFmt formatCode="_-* #,##0.0_-;\-* #,##0.0_-;_-* &quot;-&quot;??_-;_-@_-" sourceLinked="1"/>
        <c:majorTickMark val="none"/>
        <c:minorTickMark val="none"/>
        <c:tickLblPos val="nextTo"/>
        <c:crossAx val="250917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latin typeface="Lato" panose="020F0502020204030203" pitchFamily="34" charset="0"/>
          <a:ea typeface="Lato" panose="020F0502020204030203" pitchFamily="34" charset="0"/>
          <a:cs typeface="Lato" panose="020F0502020204030203" pitchFamily="34" charset="0"/>
        </a:defRPr>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FFC000"/>
            </a:solidFill>
            <a:ln>
              <a:noFill/>
            </a:ln>
            <a:effectLst/>
          </c:spPr>
          <c:invertIfNegative val="0"/>
          <c:dLbls>
            <c:dLbl>
              <c:idx val="0"/>
              <c:layout>
                <c:manualLayout>
                  <c:x val="8.5860296508731039E-3"/>
                  <c:y val="0"/>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Lato" panose="020F0502020204030203" pitchFamily="34" charset="0"/>
                        <a:ea typeface="Lato" panose="020F0502020204030203" pitchFamily="34" charset="0"/>
                        <a:cs typeface="Lato" panose="020F0502020204030203" pitchFamily="34" charset="0"/>
                      </a:defRPr>
                    </a:pPr>
                    <a:r>
                      <a:rPr lang="en-US" dirty="0"/>
                      <a:t>133</a:t>
                    </a: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solidFill>
                      <a:latin typeface="Lato" panose="020F0502020204030203" pitchFamily="34" charset="0"/>
                      <a:ea typeface="Lato" panose="020F0502020204030203" pitchFamily="34" charset="0"/>
                      <a:cs typeface="Lato" panose="020F0502020204030203" pitchFamily="34" charset="0"/>
                    </a:defRPr>
                  </a:pPr>
                  <a:endParaRPr lang="es-PE"/>
                </a:p>
              </c:txPr>
              <c:showLegendKey val="0"/>
              <c:showVal val="1"/>
              <c:showCatName val="0"/>
              <c:showSerName val="0"/>
              <c:showPercent val="0"/>
              <c:showBubbleSize val="0"/>
              <c:extLst>
                <c:ext xmlns:c15="http://schemas.microsoft.com/office/drawing/2012/chart" uri="{CE6537A1-D6FC-4f65-9D91-7224C49458BB}">
                  <c15:layout>
                    <c:manualLayout>
                      <c:w val="0.28900575804838868"/>
                      <c:h val="0.26535010504892609"/>
                    </c:manualLayout>
                  </c15:layout>
                  <c15:showDataLabelsRange val="0"/>
                </c:ext>
                <c:ext xmlns:c16="http://schemas.microsoft.com/office/drawing/2014/chart" uri="{C3380CC4-5D6E-409C-BE32-E72D297353CC}">
                  <c16:uniqueId val="{00000000-6D58-4FDC-A0F1-43219FAC26E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Lato" panose="020F0502020204030203" pitchFamily="34" charset="0"/>
                    <a:ea typeface="Lato" panose="020F0502020204030203" pitchFamily="34" charset="0"/>
                    <a:cs typeface="Lato" panose="020F0502020204030203" pitchFamily="34" charset="0"/>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T$14,Hoja1!$T$16)</c:f>
              <c:numCache>
                <c:formatCode>General</c:formatCode>
                <c:ptCount val="2"/>
                <c:pt idx="0">
                  <c:v>2000</c:v>
                </c:pt>
                <c:pt idx="1">
                  <c:v>2023</c:v>
                </c:pt>
              </c:numCache>
              <c:extLst/>
            </c:numRef>
          </c:cat>
          <c:val>
            <c:numRef>
              <c:f>(Hoja1!$V$14,Hoja1!$V$16)</c:f>
              <c:numCache>
                <c:formatCode>_-* #,##0_-;\-* #,##0_-;_-* "-"??_-;_-@_-</c:formatCode>
                <c:ptCount val="2"/>
                <c:pt idx="0">
                  <c:v>132.58507800000001</c:v>
                </c:pt>
                <c:pt idx="1">
                  <c:v>99.725996340683579</c:v>
                </c:pt>
              </c:numCache>
              <c:extLst/>
            </c:numRef>
          </c:val>
          <c:extLst>
            <c:ext xmlns:c16="http://schemas.microsoft.com/office/drawing/2014/chart" uri="{C3380CC4-5D6E-409C-BE32-E72D297353CC}">
              <c16:uniqueId val="{00000001-6D58-4FDC-A0F1-43219FAC26E5}"/>
            </c:ext>
          </c:extLst>
        </c:ser>
        <c:dLbls>
          <c:showLegendKey val="0"/>
          <c:showVal val="0"/>
          <c:showCatName val="0"/>
          <c:showSerName val="0"/>
          <c:showPercent val="0"/>
          <c:showBubbleSize val="0"/>
        </c:dLbls>
        <c:gapWidth val="70"/>
        <c:overlap val="-27"/>
        <c:axId val="250917888"/>
        <c:axId val="255321568"/>
      </c:barChart>
      <c:catAx>
        <c:axId val="250917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Lato" panose="020F0502020204030203" pitchFamily="34" charset="0"/>
                <a:ea typeface="Lato" panose="020F0502020204030203" pitchFamily="34" charset="0"/>
                <a:cs typeface="Lato" panose="020F0502020204030203" pitchFamily="34" charset="0"/>
              </a:defRPr>
            </a:pPr>
            <a:endParaRPr lang="es-PE"/>
          </a:p>
        </c:txPr>
        <c:crossAx val="255321568"/>
        <c:crosses val="autoZero"/>
        <c:auto val="1"/>
        <c:lblAlgn val="ctr"/>
        <c:lblOffset val="100"/>
        <c:noMultiLvlLbl val="0"/>
      </c:catAx>
      <c:valAx>
        <c:axId val="255321568"/>
        <c:scaling>
          <c:orientation val="minMax"/>
        </c:scaling>
        <c:delete val="1"/>
        <c:axPos val="l"/>
        <c:numFmt formatCode="_-* #,##0_-;\-* #,##0_-;_-* &quot;-&quot;??_-;_-@_-" sourceLinked="1"/>
        <c:majorTickMark val="none"/>
        <c:minorTickMark val="none"/>
        <c:tickLblPos val="nextTo"/>
        <c:crossAx val="250917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solidFill>
            <a:schemeClr val="tx1"/>
          </a:solidFill>
          <a:latin typeface="Lato" panose="020F0502020204030203" pitchFamily="34" charset="0"/>
          <a:ea typeface="Lato" panose="020F0502020204030203" pitchFamily="34" charset="0"/>
          <a:cs typeface="Lato" panose="020F0502020204030203" pitchFamily="34" charset="0"/>
        </a:defRPr>
      </a:pPr>
      <a:endParaRPr lang="es-P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74074074074074E-2"/>
          <c:y val="0.18519473759487168"/>
          <c:w val="0.89651851851851849"/>
          <c:h val="0.63953712843622967"/>
        </c:manualLayout>
      </c:layout>
      <c:barChart>
        <c:barDir val="col"/>
        <c:grouping val="clustered"/>
        <c:varyColors val="0"/>
        <c:ser>
          <c:idx val="0"/>
          <c:order val="0"/>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T$14,Hoja1!$T$16)</c:f>
              <c:numCache>
                <c:formatCode>General</c:formatCode>
                <c:ptCount val="2"/>
                <c:pt idx="0">
                  <c:v>2000</c:v>
                </c:pt>
                <c:pt idx="1">
                  <c:v>2023</c:v>
                </c:pt>
              </c:numCache>
              <c:extLst/>
            </c:numRef>
          </c:cat>
          <c:val>
            <c:numRef>
              <c:f>(Hoja1!$X$14,Hoja1!$X$16)</c:f>
              <c:numCache>
                <c:formatCode>_-* #,##0.0_-;\-* #,##0.0_-;_-* "-"??_-;_-@_-</c:formatCode>
                <c:ptCount val="2"/>
                <c:pt idx="0">
                  <c:v>2.4377059999999999</c:v>
                </c:pt>
                <c:pt idx="1">
                  <c:v>3.0430440826857832</c:v>
                </c:pt>
              </c:numCache>
              <c:extLst/>
            </c:numRef>
          </c:val>
          <c:extLst>
            <c:ext xmlns:c16="http://schemas.microsoft.com/office/drawing/2014/chart" uri="{C3380CC4-5D6E-409C-BE32-E72D297353CC}">
              <c16:uniqueId val="{00000000-7FC6-49E7-BFC3-9AF774ACCAC9}"/>
            </c:ext>
          </c:extLst>
        </c:ser>
        <c:dLbls>
          <c:showLegendKey val="0"/>
          <c:showVal val="0"/>
          <c:showCatName val="0"/>
          <c:showSerName val="0"/>
          <c:showPercent val="0"/>
          <c:showBubbleSize val="0"/>
        </c:dLbls>
        <c:gapWidth val="70"/>
        <c:overlap val="-27"/>
        <c:axId val="250917888"/>
        <c:axId val="255321568"/>
      </c:barChart>
      <c:catAx>
        <c:axId val="250917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Lato" panose="020F0502020204030203" pitchFamily="34" charset="0"/>
                <a:ea typeface="Lato" panose="020F0502020204030203" pitchFamily="34" charset="0"/>
                <a:cs typeface="Lato" panose="020F0502020204030203" pitchFamily="34" charset="0"/>
              </a:defRPr>
            </a:pPr>
            <a:endParaRPr lang="es-PE"/>
          </a:p>
        </c:txPr>
        <c:crossAx val="255321568"/>
        <c:crosses val="autoZero"/>
        <c:auto val="1"/>
        <c:lblAlgn val="ctr"/>
        <c:lblOffset val="100"/>
        <c:noMultiLvlLbl val="0"/>
      </c:catAx>
      <c:valAx>
        <c:axId val="255321568"/>
        <c:scaling>
          <c:orientation val="minMax"/>
        </c:scaling>
        <c:delete val="1"/>
        <c:axPos val="l"/>
        <c:numFmt formatCode="_-* #,##0.0_-;\-* #,##0.0_-;_-* &quot;-&quot;??_-;_-@_-" sourceLinked="1"/>
        <c:majorTickMark val="none"/>
        <c:minorTickMark val="none"/>
        <c:tickLblPos val="nextTo"/>
        <c:crossAx val="250917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latin typeface="Lato" panose="020F0502020204030203" pitchFamily="34" charset="0"/>
          <a:ea typeface="Lato" panose="020F0502020204030203" pitchFamily="34" charset="0"/>
          <a:cs typeface="Lato" panose="020F0502020204030203" pitchFamily="34" charset="0"/>
        </a:defRPr>
      </a:pPr>
      <a:endParaRPr lang="es-P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T$14,Hoja1!$T$16)</c:f>
              <c:numCache>
                <c:formatCode>General</c:formatCode>
                <c:ptCount val="2"/>
                <c:pt idx="0">
                  <c:v>2000</c:v>
                </c:pt>
                <c:pt idx="1">
                  <c:v>2023</c:v>
                </c:pt>
              </c:numCache>
              <c:extLst/>
            </c:numRef>
          </c:cat>
          <c:val>
            <c:numRef>
              <c:f>(Hoja1!$W$14,Hoja1!$W$16)</c:f>
              <c:numCache>
                <c:formatCode>_-* #,##0.0_-;\-* #,##0.0_-;_-* "-"??_-;_-@_-</c:formatCode>
                <c:ptCount val="2"/>
                <c:pt idx="0">
                  <c:v>0.91030299999999997</c:v>
                </c:pt>
                <c:pt idx="1">
                  <c:v>1.4684208668000001</c:v>
                </c:pt>
              </c:numCache>
              <c:extLst/>
            </c:numRef>
          </c:val>
          <c:extLst>
            <c:ext xmlns:c16="http://schemas.microsoft.com/office/drawing/2014/chart" uri="{C3380CC4-5D6E-409C-BE32-E72D297353CC}">
              <c16:uniqueId val="{00000000-AE79-4C01-89C5-13A2FBB59DC4}"/>
            </c:ext>
          </c:extLst>
        </c:ser>
        <c:dLbls>
          <c:showLegendKey val="0"/>
          <c:showVal val="0"/>
          <c:showCatName val="0"/>
          <c:showSerName val="0"/>
          <c:showPercent val="0"/>
          <c:showBubbleSize val="0"/>
        </c:dLbls>
        <c:gapWidth val="70"/>
        <c:overlap val="-27"/>
        <c:axId val="250917888"/>
        <c:axId val="255321568"/>
      </c:barChart>
      <c:catAx>
        <c:axId val="250917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Lato" panose="020F0502020204030203" pitchFamily="34" charset="0"/>
                <a:ea typeface="Lato" panose="020F0502020204030203" pitchFamily="34" charset="0"/>
                <a:cs typeface="Lato" panose="020F0502020204030203" pitchFamily="34" charset="0"/>
              </a:defRPr>
            </a:pPr>
            <a:endParaRPr lang="es-PE"/>
          </a:p>
        </c:txPr>
        <c:crossAx val="255321568"/>
        <c:crosses val="autoZero"/>
        <c:auto val="1"/>
        <c:lblAlgn val="ctr"/>
        <c:lblOffset val="100"/>
        <c:noMultiLvlLbl val="0"/>
      </c:catAx>
      <c:valAx>
        <c:axId val="255321568"/>
        <c:scaling>
          <c:orientation val="minMax"/>
        </c:scaling>
        <c:delete val="1"/>
        <c:axPos val="l"/>
        <c:numFmt formatCode="_-* #,##0.0_-;\-* #,##0.0_-;_-* &quot;-&quot;??_-;_-@_-" sourceLinked="1"/>
        <c:majorTickMark val="none"/>
        <c:minorTickMark val="none"/>
        <c:tickLblPos val="nextTo"/>
        <c:crossAx val="250917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900">
          <a:latin typeface="Lato" panose="020F0502020204030203" pitchFamily="34" charset="0"/>
          <a:ea typeface="Lato" panose="020F0502020204030203" pitchFamily="34" charset="0"/>
          <a:cs typeface="Lato" panose="020F0502020204030203" pitchFamily="34" charset="0"/>
        </a:defRPr>
      </a:pPr>
      <a:endParaRPr lang="es-P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H$4:$H$17</c:f>
              <c:numCache>
                <c:formatCode>General</c:formatCode>
                <c:ptCount val="14"/>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numCache>
            </c:numRef>
          </c:cat>
          <c:val>
            <c:numRef>
              <c:f>Hoja1!$I$4:$I$17</c:f>
              <c:numCache>
                <c:formatCode>General</c:formatCode>
                <c:ptCount val="14"/>
                <c:pt idx="0">
                  <c:v>168</c:v>
                </c:pt>
                <c:pt idx="1">
                  <c:v>394</c:v>
                </c:pt>
                <c:pt idx="2">
                  <c:v>616</c:v>
                </c:pt>
                <c:pt idx="3">
                  <c:v>869</c:v>
                </c:pt>
                <c:pt idx="4">
                  <c:v>905</c:v>
                </c:pt>
                <c:pt idx="5">
                  <c:v>776</c:v>
                </c:pt>
                <c:pt idx="6">
                  <c:v>625</c:v>
                </c:pt>
                <c:pt idx="7">
                  <c:v>527</c:v>
                </c:pt>
                <c:pt idx="8">
                  <c:v>377</c:v>
                </c:pt>
                <c:pt idx="9">
                  <c:v>484</c:v>
                </c:pt>
                <c:pt idx="10">
                  <c:v>413</c:v>
                </c:pt>
                <c:pt idx="11">
                  <c:v>357</c:v>
                </c:pt>
                <c:pt idx="12">
                  <c:v>216</c:v>
                </c:pt>
                <c:pt idx="13">
                  <c:v>327</c:v>
                </c:pt>
              </c:numCache>
            </c:numRef>
          </c:val>
          <c:extLst>
            <c:ext xmlns:c16="http://schemas.microsoft.com/office/drawing/2014/chart" uri="{C3380CC4-5D6E-409C-BE32-E72D297353CC}">
              <c16:uniqueId val="{00000000-32F1-47BE-9B48-3B30725F8470}"/>
            </c:ext>
          </c:extLst>
        </c:ser>
        <c:dLbls>
          <c:showLegendKey val="0"/>
          <c:showVal val="0"/>
          <c:showCatName val="0"/>
          <c:showSerName val="0"/>
          <c:showPercent val="0"/>
          <c:showBubbleSize val="0"/>
        </c:dLbls>
        <c:gapWidth val="100"/>
        <c:overlap val="-27"/>
        <c:axId val="656641920"/>
        <c:axId val="656643168"/>
      </c:barChart>
      <c:catAx>
        <c:axId val="656641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PE"/>
          </a:p>
        </c:txPr>
        <c:crossAx val="656643168"/>
        <c:crosses val="autoZero"/>
        <c:auto val="1"/>
        <c:lblAlgn val="ctr"/>
        <c:lblOffset val="100"/>
        <c:noMultiLvlLbl val="0"/>
      </c:catAx>
      <c:valAx>
        <c:axId val="6566431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PE"/>
          </a:p>
        </c:txPr>
        <c:crossAx val="656641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P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ço Reservado para Cabeçalho 1">
            <a:extLst>
              <a:ext uri="{FF2B5EF4-FFF2-40B4-BE49-F238E27FC236}">
                <a16:creationId xmlns:a16="http://schemas.microsoft.com/office/drawing/2014/main" id="{DA919DE6-D585-C6EE-363E-7EBB99B1A24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pt-BR"/>
          </a:p>
        </p:txBody>
      </p:sp>
      <p:sp>
        <p:nvSpPr>
          <p:cNvPr id="3" name="Espaço Reservado para Data 2">
            <a:extLst>
              <a:ext uri="{FF2B5EF4-FFF2-40B4-BE49-F238E27FC236}">
                <a16:creationId xmlns:a16="http://schemas.microsoft.com/office/drawing/2014/main" id="{C6CC28C7-FFE4-336D-97BE-EEE046BC5903}"/>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8CEABE0B-0B7A-4F5A-942E-7DDB25D0D4BF}" type="datetimeFigureOut">
              <a:rPr lang="pt-BR"/>
              <a:pPr>
                <a:defRPr/>
              </a:pPr>
              <a:t>09/09/2024</a:t>
            </a:fld>
            <a:endParaRPr lang="pt-BR"/>
          </a:p>
        </p:txBody>
      </p:sp>
      <p:sp>
        <p:nvSpPr>
          <p:cNvPr id="4" name="Espaço Reservado para Imagem de Slide 3">
            <a:extLst>
              <a:ext uri="{FF2B5EF4-FFF2-40B4-BE49-F238E27FC236}">
                <a16:creationId xmlns:a16="http://schemas.microsoft.com/office/drawing/2014/main" id="{FB17D24B-FB0F-5CBE-2B5A-13D6741D7003}"/>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pt-BR" noProof="0"/>
          </a:p>
        </p:txBody>
      </p:sp>
      <p:sp>
        <p:nvSpPr>
          <p:cNvPr id="5" name="Espaço Reservado para Anotações 4">
            <a:extLst>
              <a:ext uri="{FF2B5EF4-FFF2-40B4-BE49-F238E27FC236}">
                <a16:creationId xmlns:a16="http://schemas.microsoft.com/office/drawing/2014/main" id="{9825507B-700A-EB3C-99A7-D4047BA4BEF9}"/>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noProof="0"/>
              <a:t>Clique para editar os estilos de texto Mestres</a:t>
            </a:r>
          </a:p>
          <a:p>
            <a:pPr lvl="1"/>
            <a:r>
              <a:rPr lang="pt-BR" noProof="0"/>
              <a:t>Segundo nível</a:t>
            </a:r>
          </a:p>
          <a:p>
            <a:pPr lvl="2"/>
            <a:r>
              <a:rPr lang="pt-BR" noProof="0"/>
              <a:t>Terceiro nível</a:t>
            </a:r>
          </a:p>
          <a:p>
            <a:pPr lvl="3"/>
            <a:r>
              <a:rPr lang="pt-BR" noProof="0"/>
              <a:t>Quarto nível</a:t>
            </a:r>
          </a:p>
          <a:p>
            <a:pPr lvl="4"/>
            <a:r>
              <a:rPr lang="pt-BR" noProof="0"/>
              <a:t>Quinto nível</a:t>
            </a:r>
          </a:p>
        </p:txBody>
      </p:sp>
      <p:sp>
        <p:nvSpPr>
          <p:cNvPr id="6" name="Espaço Reservado para Rodapé 5">
            <a:extLst>
              <a:ext uri="{FF2B5EF4-FFF2-40B4-BE49-F238E27FC236}">
                <a16:creationId xmlns:a16="http://schemas.microsoft.com/office/drawing/2014/main" id="{B0D94B02-3D15-D59B-784D-F690432461BB}"/>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pt-BR"/>
          </a:p>
        </p:txBody>
      </p:sp>
      <p:sp>
        <p:nvSpPr>
          <p:cNvPr id="7" name="Espaço Reservado para Número de Slide 6">
            <a:extLst>
              <a:ext uri="{FF2B5EF4-FFF2-40B4-BE49-F238E27FC236}">
                <a16:creationId xmlns:a16="http://schemas.microsoft.com/office/drawing/2014/main" id="{B440DA8E-17A9-2C75-EC4A-4CC8F9DC134A}"/>
              </a:ext>
            </a:extLst>
          </p:cNvPr>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3BC696F2-85DE-422B-8ED7-254E9AF0949E}" type="slidenum">
              <a:rPr lang="pt-BR" altLang="en-US"/>
              <a:pPr/>
              <a:t>‹Nº›</a:t>
            </a:fld>
            <a:endParaRPr lang="pt-BR" altLang="en-US"/>
          </a:p>
        </p:txBody>
      </p:sp>
    </p:spTree>
  </p:cSld>
  <p:clrMap bg1="lt1" tx1="dk1" bg2="lt2" tx2="dk2" accent1="accent1" accent2="accent2" accent3="accent3" accent4="accent4" accent5="accent5" accent6="accent6" hlink="hlink" folHlink="folHlink"/>
  <p:notesStyle>
    <a:lvl1pPr algn="l" defTabSz="1316038" rtl="0" eaLnBrk="0" fontAlgn="base" hangingPunct="0">
      <a:spcBef>
        <a:spcPct val="30000"/>
      </a:spcBef>
      <a:spcAft>
        <a:spcPct val="0"/>
      </a:spcAft>
      <a:defRPr sz="1700" kern="1200">
        <a:solidFill>
          <a:schemeClr val="tx1"/>
        </a:solidFill>
        <a:latin typeface="+mn-lt"/>
        <a:ea typeface="+mn-ea"/>
        <a:cs typeface="+mn-cs"/>
      </a:defRPr>
    </a:lvl1pPr>
    <a:lvl2pPr marL="657225" algn="l" defTabSz="1316038" rtl="0" eaLnBrk="0" fontAlgn="base" hangingPunct="0">
      <a:spcBef>
        <a:spcPct val="30000"/>
      </a:spcBef>
      <a:spcAft>
        <a:spcPct val="0"/>
      </a:spcAft>
      <a:defRPr sz="1700" kern="1200">
        <a:solidFill>
          <a:schemeClr val="tx1"/>
        </a:solidFill>
        <a:latin typeface="+mn-lt"/>
        <a:ea typeface="+mn-ea"/>
        <a:cs typeface="+mn-cs"/>
      </a:defRPr>
    </a:lvl2pPr>
    <a:lvl3pPr marL="1316038" algn="l" defTabSz="1316038" rtl="0" eaLnBrk="0" fontAlgn="base" hangingPunct="0">
      <a:spcBef>
        <a:spcPct val="30000"/>
      </a:spcBef>
      <a:spcAft>
        <a:spcPct val="0"/>
      </a:spcAft>
      <a:defRPr sz="1700" kern="1200">
        <a:solidFill>
          <a:schemeClr val="tx1"/>
        </a:solidFill>
        <a:latin typeface="+mn-lt"/>
        <a:ea typeface="+mn-ea"/>
        <a:cs typeface="+mn-cs"/>
      </a:defRPr>
    </a:lvl3pPr>
    <a:lvl4pPr marL="1974850" algn="l" defTabSz="1316038" rtl="0" eaLnBrk="0" fontAlgn="base" hangingPunct="0">
      <a:spcBef>
        <a:spcPct val="30000"/>
      </a:spcBef>
      <a:spcAft>
        <a:spcPct val="0"/>
      </a:spcAft>
      <a:defRPr sz="1700" kern="1200">
        <a:solidFill>
          <a:schemeClr val="tx1"/>
        </a:solidFill>
        <a:latin typeface="+mn-lt"/>
        <a:ea typeface="+mn-ea"/>
        <a:cs typeface="+mn-cs"/>
      </a:defRPr>
    </a:lvl4pPr>
    <a:lvl5pPr marL="2632075" algn="l" defTabSz="1316038" rtl="0" eaLnBrk="0" fontAlgn="base" hangingPunct="0">
      <a:spcBef>
        <a:spcPct val="30000"/>
      </a:spcBef>
      <a:spcAft>
        <a:spcPct val="0"/>
      </a:spcAft>
      <a:defRPr sz="1700" kern="1200">
        <a:solidFill>
          <a:schemeClr val="tx1"/>
        </a:solidFill>
        <a:latin typeface="+mn-lt"/>
        <a:ea typeface="+mn-ea"/>
        <a:cs typeface="+mn-cs"/>
      </a:defRPr>
    </a:lvl5pPr>
    <a:lvl6pPr marL="3291840" algn="l" defTabSz="1316736" rtl="0" eaLnBrk="1" latinLnBrk="0" hangingPunct="1">
      <a:defRPr sz="1728" kern="1200">
        <a:solidFill>
          <a:schemeClr val="tx1"/>
        </a:solidFill>
        <a:latin typeface="+mn-lt"/>
        <a:ea typeface="+mn-ea"/>
        <a:cs typeface="+mn-cs"/>
      </a:defRPr>
    </a:lvl6pPr>
    <a:lvl7pPr marL="3950208" algn="l" defTabSz="1316736" rtl="0" eaLnBrk="1" latinLnBrk="0" hangingPunct="1">
      <a:defRPr sz="1728" kern="1200">
        <a:solidFill>
          <a:schemeClr val="tx1"/>
        </a:solidFill>
        <a:latin typeface="+mn-lt"/>
        <a:ea typeface="+mn-ea"/>
        <a:cs typeface="+mn-cs"/>
      </a:defRPr>
    </a:lvl7pPr>
    <a:lvl8pPr marL="4608576" algn="l" defTabSz="1316736" rtl="0" eaLnBrk="1" latinLnBrk="0" hangingPunct="1">
      <a:defRPr sz="1728" kern="1200">
        <a:solidFill>
          <a:schemeClr val="tx1"/>
        </a:solidFill>
        <a:latin typeface="+mn-lt"/>
        <a:ea typeface="+mn-ea"/>
        <a:cs typeface="+mn-cs"/>
      </a:defRPr>
    </a:lvl8pPr>
    <a:lvl9pPr marL="5266944" algn="l" defTabSz="1316736" rtl="0" eaLnBrk="1" latinLnBrk="0" hangingPunct="1">
      <a:defRPr sz="172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61F828-E37E-47C8-9394-4AB0EFAF0497}" type="slidenum">
              <a:rPr kumimoji="0" lang="es-P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P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8416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800" dirty="0">
                <a:effectLst/>
                <a:latin typeface="Calibri" panose="020F0502020204030204" pitchFamily="34" charset="0"/>
                <a:ea typeface="Calibri" panose="020F0502020204030204" pitchFamily="34" charset="0"/>
                <a:cs typeface="Times New Roman" panose="02020603050405020304" pitchFamily="18" charset="0"/>
              </a:rPr>
              <a:t>El Perú ha sido uno de los principales destinos de inversión en minería, sin embargo es importante tener en cuenta que en el mundo hay más de 180 proyectos que podrían desarrollarse y que compiten con los proyectos peruanos. Sin nuevas inversiones la producción de cobre caería en 48% al 2040, los mismo ocurriría con otros minerales.</a:t>
            </a:r>
            <a:endParaRPr lang="es-PE"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Marcador de número de diapositiva 3"/>
          <p:cNvSpPr>
            <a:spLocks noGrp="1"/>
          </p:cNvSpPr>
          <p:nvPr>
            <p:ph type="sldNum" sz="quarter" idx="5"/>
          </p:nvPr>
        </p:nvSpPr>
        <p:spPr/>
        <p:txBody>
          <a:bodyPr/>
          <a:lstStyle/>
          <a:p>
            <a:fld id="{788438C4-48C7-48B3-B845-CA8206E10C09}" type="slidenum">
              <a:rPr lang="es-PE" smtClean="0"/>
              <a:t>15</a:t>
            </a:fld>
            <a:endParaRPr lang="es-PE"/>
          </a:p>
        </p:txBody>
      </p:sp>
    </p:spTree>
    <p:extLst>
      <p:ext uri="{BB962C8B-B14F-4D97-AF65-F5344CB8AC3E}">
        <p14:creationId xmlns:p14="http://schemas.microsoft.com/office/powerpoint/2010/main" val="4116209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Marcador de imagen de diapositiva 1">
            <a:extLst>
              <a:ext uri="{FF2B5EF4-FFF2-40B4-BE49-F238E27FC236}">
                <a16:creationId xmlns:a16="http://schemas.microsoft.com/office/drawing/2014/main" id="{A193591C-ABA0-1C9D-609D-14F5AFF2DB2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Marcador de notas 2">
            <a:extLst>
              <a:ext uri="{FF2B5EF4-FFF2-40B4-BE49-F238E27FC236}">
                <a16:creationId xmlns:a16="http://schemas.microsoft.com/office/drawing/2014/main" id="{F68C04AF-A446-5AD2-9FD2-0ABF4EDFF6C2}"/>
              </a:ext>
            </a:extLst>
          </p:cNvPr>
          <p:cNvSpPr>
            <a:spLocks noGrp="1"/>
          </p:cNvSpPr>
          <p:nvPr>
            <p:ph type="body" idx="1"/>
          </p:nvPr>
        </p:nvSpPr>
        <p:spPr/>
        <p:txBody>
          <a:bodyPr/>
          <a:lstStyle/>
          <a:p>
            <a:pPr defTabSz="1316736" eaLnBrk="1" fontAlgn="auto" hangingPunct="1">
              <a:spcBef>
                <a:spcPts val="0"/>
              </a:spcBef>
              <a:spcAft>
                <a:spcPts val="0"/>
              </a:spcAft>
              <a:buFont typeface="Arial" panose="020B0604020202020204" pitchFamily="34" charset="0"/>
              <a:buNone/>
              <a:defRPr/>
            </a:pPr>
            <a:endParaRPr lang="es-PE" sz="1728" dirty="0"/>
          </a:p>
        </p:txBody>
      </p:sp>
      <p:sp>
        <p:nvSpPr>
          <p:cNvPr id="37892" name="Marcador de número de diapositiva 3">
            <a:extLst>
              <a:ext uri="{FF2B5EF4-FFF2-40B4-BE49-F238E27FC236}">
                <a16:creationId xmlns:a16="http://schemas.microsoft.com/office/drawing/2014/main" id="{AD5370F4-9379-4BDD-28A9-62208A9CC03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fld id="{082445C6-23C9-4BB7-A42B-104CB7FDEFAF}" type="slidenum">
              <a:rPr lang="es-PE" altLang="en-US"/>
              <a:pPr eaLnBrk="1" hangingPunct="1"/>
              <a:t>16</a:t>
            </a:fld>
            <a:endParaRPr lang="es-PE" altLang="en-US"/>
          </a:p>
        </p:txBody>
      </p:sp>
    </p:spTree>
    <p:extLst>
      <p:ext uri="{BB962C8B-B14F-4D97-AF65-F5344CB8AC3E}">
        <p14:creationId xmlns:p14="http://schemas.microsoft.com/office/powerpoint/2010/main" val="3211702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316038" rtl="0" eaLnBrk="0" fontAlgn="base" latinLnBrk="0" hangingPunct="0">
              <a:lnSpc>
                <a:spcPct val="100000"/>
              </a:lnSpc>
              <a:spcBef>
                <a:spcPct val="30000"/>
              </a:spcBef>
              <a:spcAft>
                <a:spcPct val="0"/>
              </a:spcAft>
              <a:buClrTx/>
              <a:buSzTx/>
              <a:buFontTx/>
              <a:buNone/>
              <a:tabLst/>
              <a:defRPr/>
            </a:pPr>
            <a:r>
              <a:rPr lang="es-MX" sz="1800" kern="100" dirty="0">
                <a:solidFill>
                  <a:schemeClr val="tx1"/>
                </a:solidFill>
                <a:latin typeface="ClanPro-Bold" panose="020B0804020101020102" pitchFamily="34" charset="0"/>
                <a:ea typeface="Calibri" panose="020F0502020204030204" pitchFamily="34" charset="0"/>
                <a:cs typeface="Times New Roman" panose="02020603050405020304" pitchFamily="18" charset="0"/>
              </a:rPr>
              <a:t>- A julio de 2023, 23 de los 46 proyectos mineros en cartera enfrentan retrasos por razones ajenas a la voluntad de la empresa, con un monto de inversión de US$ 29,667 millones, equivalente al 55% de la inversión total.</a:t>
            </a:r>
            <a:endParaRPr lang="es-PE" sz="1800" kern="100" dirty="0">
              <a:solidFill>
                <a:schemeClr val="tx1"/>
              </a:solidFill>
              <a:latin typeface="ClanPro-Bold" panose="020B0804020101020102" pitchFamily="34" charset="0"/>
              <a:ea typeface="Calibri" panose="020F0502020204030204" pitchFamily="34" charset="0"/>
              <a:cs typeface="Times New Roman" panose="02020603050405020304" pitchFamily="18" charset="0"/>
            </a:endParaRPr>
          </a:p>
          <a:p>
            <a:pPr marL="0" marR="0" lvl="0" indent="0" algn="l" defTabSz="1316038" rtl="0" eaLnBrk="0" fontAlgn="base" latinLnBrk="0" hangingPunct="0">
              <a:lnSpc>
                <a:spcPct val="100000"/>
              </a:lnSpc>
              <a:spcBef>
                <a:spcPct val="30000"/>
              </a:spcBef>
              <a:spcAft>
                <a:spcPct val="0"/>
              </a:spcAft>
              <a:buClrTx/>
              <a:buSzTx/>
              <a:buFontTx/>
              <a:buNone/>
              <a:tabLst/>
              <a:defRPr/>
            </a:pPr>
            <a:r>
              <a:rPr lang="es-MX" sz="1800" dirty="0">
                <a:solidFill>
                  <a:srgbClr val="3D5163"/>
                </a:solidFill>
                <a:latin typeface="ClanPro-Bold" panose="020B0804020101020102" pitchFamily="34" charset="0"/>
              </a:rPr>
              <a:t>- Ocho de los 23 proyectos analizados -dos tercios de la inversión atrasada- acumulan más de una década de retraso, al estar programados inicialmente </a:t>
            </a:r>
            <a:r>
              <a:rPr lang="es-MX" sz="1800" dirty="0">
                <a:solidFill>
                  <a:schemeClr val="accent4"/>
                </a:solidFill>
                <a:latin typeface="ClanPro-Bold" panose="020B0804020101020102" pitchFamily="34" charset="0"/>
              </a:rPr>
              <a:t>para empezar sus operaciones entre el 2011 y 2013. </a:t>
            </a:r>
            <a:r>
              <a:rPr lang="es-MX" sz="1800" dirty="0">
                <a:solidFill>
                  <a:schemeClr val="accent4"/>
                </a:solidFill>
              </a:rPr>
              <a:t>Además, 16 de 23 proyectos ya no indican una fecha probable de inicio, evidenciando la incertidumbre sobre su ejecución.</a:t>
            </a:r>
            <a:endParaRPr lang="es-PE" sz="1800" dirty="0">
              <a:solidFill>
                <a:schemeClr val="accent4"/>
              </a:solidFill>
            </a:endParaRPr>
          </a:p>
          <a:p>
            <a:endParaRPr lang="es-ES"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17</a:t>
            </a:fld>
            <a:endParaRPr lang="es-PE"/>
          </a:p>
        </p:txBody>
      </p:sp>
    </p:spTree>
    <p:extLst>
      <p:ext uri="{BB962C8B-B14F-4D97-AF65-F5344CB8AC3E}">
        <p14:creationId xmlns:p14="http://schemas.microsoft.com/office/powerpoint/2010/main" val="3032264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Razones ajenas a la voluntad de la empresa: conflictividad social y </a:t>
            </a:r>
            <a:r>
              <a:rPr lang="es-ES" dirty="0" err="1"/>
              <a:t>permisología</a:t>
            </a:r>
            <a:r>
              <a:rPr lang="es-ES" dirty="0"/>
              <a:t>.</a:t>
            </a:r>
          </a:p>
        </p:txBody>
      </p:sp>
      <p:sp>
        <p:nvSpPr>
          <p:cNvPr id="4" name="Marcador de número de diapositiva 3"/>
          <p:cNvSpPr>
            <a:spLocks noGrp="1"/>
          </p:cNvSpPr>
          <p:nvPr>
            <p:ph type="sldNum" sz="quarter" idx="5"/>
          </p:nvPr>
        </p:nvSpPr>
        <p:spPr/>
        <p:txBody>
          <a:bodyPr/>
          <a:lstStyle/>
          <a:p>
            <a:fld id="{4E19E93B-8547-463A-8F7E-72AB70E8B57F}" type="slidenum">
              <a:rPr lang="es-PE" smtClean="0"/>
              <a:t>18</a:t>
            </a:fld>
            <a:endParaRPr lang="es-PE"/>
          </a:p>
        </p:txBody>
      </p:sp>
    </p:spTree>
    <p:extLst>
      <p:ext uri="{BB962C8B-B14F-4D97-AF65-F5344CB8AC3E}">
        <p14:creationId xmlns:p14="http://schemas.microsoft.com/office/powerpoint/2010/main" val="28028912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lnSpc>
                <a:spcPct val="90000"/>
              </a:lnSpc>
            </a:pPr>
            <a:r>
              <a:rPr lang="es-MX" sz="1600" spc="-19" dirty="0">
                <a:solidFill>
                  <a:srgbClr val="3D5163"/>
                </a:solidFill>
                <a:latin typeface="ClanPro-Bold" panose="020B0804020101020102" pitchFamily="34" charset="0"/>
              </a:rPr>
              <a:t>La minería -en </a:t>
            </a:r>
            <a:r>
              <a:rPr lang="es-MX" sz="1600" spc="-19" dirty="0">
                <a:solidFill>
                  <a:schemeClr val="tx2"/>
                </a:solidFill>
                <a:latin typeface="ClanPro-Bold" panose="020B0804020101020102" pitchFamily="34" charset="0"/>
              </a:rPr>
              <a:t>sus fases de inversión </a:t>
            </a:r>
            <a:r>
              <a:rPr lang="es-MX" sz="1600" spc="-19" dirty="0">
                <a:solidFill>
                  <a:srgbClr val="3D5163"/>
                </a:solidFill>
                <a:latin typeface="ClanPro-Bold" panose="020B0804020101020102" pitchFamily="34" charset="0"/>
              </a:rPr>
              <a:t>y producción- genera importantes encadenamientos económicos, impulsando el crecimiento </a:t>
            </a:r>
            <a:r>
              <a:rPr lang="es-MX" sz="1600" spc="-19" dirty="0">
                <a:solidFill>
                  <a:schemeClr val="accent4"/>
                </a:solidFill>
                <a:latin typeface="ClanPro-Bold" panose="020B0804020101020102" pitchFamily="34" charset="0"/>
              </a:rPr>
              <a:t>del PBI, la recaudación fiscal y la generación de empleo</a:t>
            </a:r>
            <a:r>
              <a:rPr lang="es-MX" sz="1600" spc="-19" dirty="0">
                <a:solidFill>
                  <a:sysClr val="windowText" lastClr="000000"/>
                </a:solidFill>
                <a:latin typeface="ClanPro-Bold" panose="020B0804020101020102" pitchFamily="34" charset="0"/>
              </a:rPr>
              <a:t>. </a:t>
            </a:r>
            <a:r>
              <a:rPr lang="es-MX" sz="1600" spc="-19" dirty="0">
                <a:solidFill>
                  <a:srgbClr val="3D5163"/>
                </a:solidFill>
                <a:latin typeface="ClanPro-Book" panose="020B0604020101020102" pitchFamily="34" charset="0"/>
              </a:rPr>
              <a:t>Esto se da a través de sus efectos </a:t>
            </a:r>
            <a:r>
              <a:rPr lang="es-MX" sz="1600" spc="-19" dirty="0">
                <a:solidFill>
                  <a:schemeClr val="accent4"/>
                </a:solidFill>
                <a:latin typeface="ClanPro-Book" panose="020B0604020101020102" pitchFamily="34" charset="0"/>
              </a:rPr>
              <a:t>directos, indirectos, e inducidos por el consumo de los trabajadores y la inversión de sus utilidades.</a:t>
            </a:r>
            <a:endParaRPr lang="es-PE" sz="1600" spc="-19" dirty="0">
              <a:solidFill>
                <a:schemeClr val="accent4"/>
              </a:solidFill>
              <a:latin typeface="ClanPro-Book" panose="020B0604020101020102" pitchFamily="34" charset="0"/>
            </a:endParaRPr>
          </a:p>
          <a:p>
            <a:endParaRPr lang="es-ES"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19</a:t>
            </a:fld>
            <a:endParaRPr lang="es-PE"/>
          </a:p>
        </p:txBody>
      </p:sp>
    </p:spTree>
    <p:extLst>
      <p:ext uri="{BB962C8B-B14F-4D97-AF65-F5344CB8AC3E}">
        <p14:creationId xmlns:p14="http://schemas.microsoft.com/office/powerpoint/2010/main" val="20139635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316038" rtl="0" eaLnBrk="0" fontAlgn="base" latinLnBrk="0" hangingPunct="0">
              <a:lnSpc>
                <a:spcPct val="90000"/>
              </a:lnSpc>
              <a:spcBef>
                <a:spcPts val="1438"/>
              </a:spcBef>
              <a:spcAft>
                <a:spcPct val="0"/>
              </a:spcAft>
              <a:buClrTx/>
              <a:buSzTx/>
              <a:buFont typeface="Arial" panose="020B0604020202020204" pitchFamily="34" charset="0"/>
              <a:buNone/>
              <a:tabLst/>
              <a:defRPr/>
            </a:pPr>
            <a:r>
              <a:rPr kumimoji="0" lang="es-MX" sz="2495" b="0" i="0" u="none" strike="noStrike" kern="1200" cap="none" spc="0" normalizeH="0" baseline="0" noProof="0" dirty="0">
                <a:ln>
                  <a:noFill/>
                </a:ln>
                <a:solidFill>
                  <a:srgbClr val="70AD47"/>
                </a:solidFill>
                <a:effectLst/>
                <a:uLnTx/>
                <a:uFillTx/>
                <a:latin typeface="ClanPro-Bold"/>
                <a:ea typeface="+mn-ea"/>
                <a:cs typeface="+mn-cs"/>
              </a:rPr>
              <a:t>En resumen</a:t>
            </a:r>
            <a:r>
              <a:rPr kumimoji="0" lang="es-MX" sz="2495" b="0" i="0" u="none" strike="noStrike" kern="1200" cap="none" spc="0" normalizeH="0" baseline="0" noProof="0" dirty="0">
                <a:ln>
                  <a:noFill/>
                </a:ln>
                <a:solidFill>
                  <a:srgbClr val="374151"/>
                </a:solidFill>
                <a:effectLst/>
                <a:uLnTx/>
                <a:uFillTx/>
                <a:latin typeface="ClanPro-Bold"/>
                <a:ea typeface="+mn-ea"/>
                <a:cs typeface="+mn-cs"/>
              </a:rPr>
              <a:t>, la no ejecución de proyectos mineros resultó en una pérdida de PBI de S/ 698 mil millones y una reducción en recaudación de S/ 123 mil millones, entre el 2008 y 2022. </a:t>
            </a:r>
            <a:r>
              <a:rPr kumimoji="0" lang="es-MX" sz="2495" b="0" i="0" u="none" strike="noStrike" kern="1200" cap="none" spc="0" normalizeH="0" baseline="0" noProof="0" dirty="0">
                <a:ln>
                  <a:noFill/>
                </a:ln>
                <a:solidFill>
                  <a:srgbClr val="374151"/>
                </a:solidFill>
                <a:effectLst/>
                <a:uLnTx/>
                <a:uFillTx/>
                <a:latin typeface="ClanPro-Book"/>
                <a:ea typeface="+mn-ea"/>
                <a:cs typeface="+mn-cs"/>
              </a:rPr>
              <a:t>La puesta en marcha de estos proyectos podría haber generado 541 mil empleos adicionales en el año 2022, así como 125 mil empleos temporales en el año de mayor inversión (2011).</a:t>
            </a:r>
            <a:endParaRPr kumimoji="0" lang="es-PE" sz="2495" b="0" i="0" u="none" strike="noStrike" kern="1200" cap="none" spc="0" normalizeH="0" baseline="0" noProof="0" dirty="0">
              <a:ln>
                <a:noFill/>
              </a:ln>
              <a:solidFill>
                <a:srgbClr val="58626B"/>
              </a:solidFill>
              <a:effectLst/>
              <a:uLnTx/>
              <a:uFillTx/>
              <a:latin typeface="ClanPro-Book"/>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20</a:t>
            </a:fld>
            <a:endParaRPr lang="es-PE"/>
          </a:p>
        </p:txBody>
      </p:sp>
    </p:spTree>
    <p:extLst>
      <p:ext uri="{BB962C8B-B14F-4D97-AF65-F5344CB8AC3E}">
        <p14:creationId xmlns:p14="http://schemas.microsoft.com/office/powerpoint/2010/main" val="1105439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316038" rtl="0" eaLnBrk="0" fontAlgn="base" latinLnBrk="0" hangingPunct="0">
              <a:lnSpc>
                <a:spcPct val="100000"/>
              </a:lnSpc>
              <a:spcBef>
                <a:spcPct val="30000"/>
              </a:spcBef>
              <a:spcAft>
                <a:spcPct val="0"/>
              </a:spcAft>
              <a:buClrTx/>
              <a:buSzTx/>
              <a:buFontTx/>
              <a:buNone/>
              <a:tabLst/>
              <a:defRPr/>
            </a:pPr>
            <a:r>
              <a:rPr lang="es-MX" sz="1800" dirty="0">
                <a:solidFill>
                  <a:schemeClr val="accent6"/>
                </a:solidFill>
                <a:latin typeface="ClanPro-Bold" panose="020B0804020101020102" pitchFamily="34" charset="0"/>
              </a:rPr>
              <a:t>PBI: </a:t>
            </a:r>
            <a:r>
              <a:rPr lang="es-MX" sz="1800" dirty="0">
                <a:solidFill>
                  <a:schemeClr val="accent4"/>
                </a:solidFill>
                <a:latin typeface="ClanPro-Bold" panose="020B0804020101020102" pitchFamily="34" charset="0"/>
              </a:rPr>
              <a:t>Entre 2008 y 2022, la no ejecución de proyectos mineros por razones ajenas a la voluntad de la empresa significó una pérdida total del PBI de S/ 698 mil millones. Esto equivale a más de todo el PBI producido en el Perú en un año </a:t>
            </a:r>
            <a:r>
              <a:rPr lang="es-MX" sz="1800" dirty="0">
                <a:solidFill>
                  <a:schemeClr val="accent4"/>
                </a:solidFill>
                <a:latin typeface="ClanPro-Book" panose="020B0604020101020102" pitchFamily="34" charset="77"/>
              </a:rPr>
              <a:t>(1.2 veces el PBI de 2022).</a:t>
            </a:r>
          </a:p>
          <a:p>
            <a:pPr marL="0" marR="0" lvl="0" indent="0" algn="l" defTabSz="1316038" rtl="0" eaLnBrk="0" fontAlgn="base" latinLnBrk="0" hangingPunct="0">
              <a:lnSpc>
                <a:spcPct val="100000"/>
              </a:lnSpc>
              <a:spcBef>
                <a:spcPct val="30000"/>
              </a:spcBef>
              <a:spcAft>
                <a:spcPct val="0"/>
              </a:spcAft>
              <a:buClrTx/>
              <a:buSzTx/>
              <a:buFontTx/>
              <a:buNone/>
              <a:tabLst/>
              <a:defRPr/>
            </a:pPr>
            <a:r>
              <a:rPr lang="es-PE" sz="1800" dirty="0">
                <a:solidFill>
                  <a:schemeClr val="accent4"/>
                </a:solidFill>
                <a:latin typeface="ClanPro-Book" panose="020B0604020101020102" pitchFamily="34" charset="77"/>
              </a:rPr>
              <a:t>Pobreza: </a:t>
            </a:r>
            <a:r>
              <a:rPr lang="es-MX" sz="1800" dirty="0">
                <a:solidFill>
                  <a:schemeClr val="accent4"/>
                </a:solidFill>
                <a:latin typeface="ClanPro-Bold" panose="020B0804020101020102" pitchFamily="34" charset="0"/>
              </a:rPr>
              <a:t>Con la ejecución de los proyectos mineros retrasados, la pobreza habría sido hasta 5 p.p. menor durante este periodo.</a:t>
            </a:r>
            <a:r>
              <a:rPr lang="es-MX" sz="1800" dirty="0">
                <a:solidFill>
                  <a:schemeClr val="accent4"/>
                </a:solidFill>
              </a:rPr>
              <a:t> Es decir, habría significado 1.7 millones de personas fuera de la pobreza en 2022.</a:t>
            </a:r>
          </a:p>
          <a:p>
            <a:pPr marL="0" marR="0" lvl="0" indent="0" algn="l" defTabSz="1316038" rtl="0" eaLnBrk="0" fontAlgn="base" latinLnBrk="0" hangingPunct="0">
              <a:lnSpc>
                <a:spcPct val="100000"/>
              </a:lnSpc>
              <a:spcBef>
                <a:spcPct val="30000"/>
              </a:spcBef>
              <a:spcAft>
                <a:spcPct val="0"/>
              </a:spcAft>
              <a:buClrTx/>
              <a:buSzTx/>
              <a:buFontTx/>
              <a:buNone/>
              <a:tabLst/>
              <a:defRPr/>
            </a:pPr>
            <a:r>
              <a:rPr lang="es-PE" sz="1800" dirty="0">
                <a:solidFill>
                  <a:schemeClr val="accent4"/>
                </a:solidFill>
                <a:latin typeface="ClanPro-Book" panose="020B0604020101020102" pitchFamily="34" charset="77"/>
              </a:rPr>
              <a:t>Recaudación: </a:t>
            </a:r>
            <a:r>
              <a:rPr lang="es-MX" sz="1800" dirty="0">
                <a:solidFill>
                  <a:schemeClr val="accent4"/>
                </a:solidFill>
                <a:latin typeface="ClanPro-Bold"/>
              </a:rPr>
              <a:t>equivalente al 75% de los ingresos promedio del gobierno en los últimos cinco años. </a:t>
            </a:r>
            <a:r>
              <a:rPr lang="es-MX" sz="1800" dirty="0">
                <a:solidFill>
                  <a:schemeClr val="accent4"/>
                </a:solidFill>
                <a:latin typeface="ClanPro-Book"/>
              </a:rPr>
              <a:t>Cajamarca (35%), Apurímac (28%) y Piura (13%) concentran tres cuartos de lo que se dejó de recaudar por la no ejecución de proyectos mineros en ese periodo.</a:t>
            </a:r>
          </a:p>
          <a:p>
            <a:pPr marL="0" marR="0" lvl="0" indent="0" algn="l" defTabSz="1316038" rtl="0" eaLnBrk="0" fontAlgn="base" latinLnBrk="0" hangingPunct="0">
              <a:lnSpc>
                <a:spcPct val="100000"/>
              </a:lnSpc>
              <a:spcBef>
                <a:spcPct val="30000"/>
              </a:spcBef>
              <a:spcAft>
                <a:spcPct val="0"/>
              </a:spcAft>
              <a:buClrTx/>
              <a:buSzTx/>
              <a:buFontTx/>
              <a:buNone/>
              <a:tabLst/>
              <a:defRPr/>
            </a:pPr>
            <a:r>
              <a:rPr lang="es-MX" sz="1800" dirty="0">
                <a:solidFill>
                  <a:schemeClr val="accent4"/>
                </a:solidFill>
                <a:latin typeface="ClanPro-Bold" panose="020B0804020101020102" pitchFamily="34" charset="0"/>
              </a:rPr>
              <a:t>Los S/ 123 mil millones no recaudados por proyectos mineros no ejecutados habrían cubierto la brecha de infraestructura de corto plazo (S/ 117 mil millones). Los S/43 mil millones de Cajamarca equivalen a lo necesario para financiar ocho veces su cartera de proyectos clave. </a:t>
            </a:r>
            <a:r>
              <a:rPr lang="es-MX" sz="1800" dirty="0">
                <a:solidFill>
                  <a:schemeClr val="accent4"/>
                </a:solidFill>
              </a:rPr>
              <a:t>En el sur, la pérdida de recaudación de S/54 mil millones equivale a casi tres veces el costo del proyecto de transporte integrado de gas.</a:t>
            </a:r>
            <a:endParaRPr lang="es-PE" sz="1800" dirty="0">
              <a:solidFill>
                <a:schemeClr val="accent4"/>
              </a:solidFill>
            </a:endParaRPr>
          </a:p>
          <a:p>
            <a:pPr marL="0" marR="0" lvl="0" indent="0" algn="l" defTabSz="1316038" rtl="0" eaLnBrk="0" fontAlgn="base" latinLnBrk="0" hangingPunct="0">
              <a:lnSpc>
                <a:spcPct val="100000"/>
              </a:lnSpc>
              <a:spcBef>
                <a:spcPct val="30000"/>
              </a:spcBef>
              <a:spcAft>
                <a:spcPct val="0"/>
              </a:spcAft>
              <a:buClrTx/>
              <a:buSzTx/>
              <a:buFontTx/>
              <a:buNone/>
              <a:tabLst/>
              <a:defRPr/>
            </a:pPr>
            <a:r>
              <a:rPr lang="es-MX" sz="1800" dirty="0">
                <a:solidFill>
                  <a:schemeClr val="accent4"/>
                </a:solidFill>
                <a:latin typeface="ClanPro-Book"/>
              </a:rPr>
              <a:t>Empleo: </a:t>
            </a:r>
            <a:r>
              <a:rPr lang="es-MX" sz="1800" dirty="0">
                <a:solidFill>
                  <a:schemeClr val="accent4"/>
                </a:solidFill>
              </a:rPr>
              <a:t>Sin la pérdida de empleos en la fase de producción, se tendría un 25% adicional de empleos a los efectivamente generados por el sector en 2022.</a:t>
            </a:r>
            <a:endParaRPr lang="es-PE" sz="1800" dirty="0">
              <a:solidFill>
                <a:schemeClr val="accent4"/>
              </a:solidFill>
              <a:latin typeface="ClanPro-Book"/>
            </a:endParaRPr>
          </a:p>
          <a:p>
            <a:pPr marL="0" marR="0" lvl="0" indent="0" algn="l" defTabSz="1316038" rtl="0" eaLnBrk="0" fontAlgn="base" latinLnBrk="0" hangingPunct="0">
              <a:lnSpc>
                <a:spcPct val="100000"/>
              </a:lnSpc>
              <a:spcBef>
                <a:spcPct val="30000"/>
              </a:spcBef>
              <a:spcAft>
                <a:spcPct val="0"/>
              </a:spcAft>
              <a:buClrTx/>
              <a:buSzTx/>
              <a:buFontTx/>
              <a:buNone/>
              <a:tabLst/>
              <a:defRPr/>
            </a:pPr>
            <a:endParaRPr lang="es-PE" sz="1800" dirty="0">
              <a:solidFill>
                <a:schemeClr val="accent4"/>
              </a:solidFill>
              <a:latin typeface="ClanPro-Book" panose="020B0604020101020102" pitchFamily="34" charset="77"/>
            </a:endParaRPr>
          </a:p>
          <a:p>
            <a:endParaRPr lang="es-PE"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21</a:t>
            </a:fld>
            <a:endParaRPr lang="es-PE"/>
          </a:p>
        </p:txBody>
      </p:sp>
    </p:spTree>
    <p:extLst>
      <p:ext uri="{BB962C8B-B14F-4D97-AF65-F5344CB8AC3E}">
        <p14:creationId xmlns:p14="http://schemas.microsoft.com/office/powerpoint/2010/main" val="937795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Marcador de imagen de diapositiva 1">
            <a:extLst>
              <a:ext uri="{FF2B5EF4-FFF2-40B4-BE49-F238E27FC236}">
                <a16:creationId xmlns:a16="http://schemas.microsoft.com/office/drawing/2014/main" id="{A193591C-ABA0-1C9D-609D-14F5AFF2DB2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Marcador de notas 2">
            <a:extLst>
              <a:ext uri="{FF2B5EF4-FFF2-40B4-BE49-F238E27FC236}">
                <a16:creationId xmlns:a16="http://schemas.microsoft.com/office/drawing/2014/main" id="{F68C04AF-A446-5AD2-9FD2-0ABF4EDFF6C2}"/>
              </a:ext>
            </a:extLst>
          </p:cNvPr>
          <p:cNvSpPr>
            <a:spLocks noGrp="1"/>
          </p:cNvSpPr>
          <p:nvPr>
            <p:ph type="body" idx="1"/>
          </p:nvPr>
        </p:nvSpPr>
        <p:spPr/>
        <p:txBody>
          <a:bodyPr/>
          <a:lstStyle/>
          <a:p>
            <a:pPr defTabSz="1316736" eaLnBrk="1" fontAlgn="auto" hangingPunct="1">
              <a:spcBef>
                <a:spcPts val="0"/>
              </a:spcBef>
              <a:spcAft>
                <a:spcPts val="0"/>
              </a:spcAft>
              <a:buFont typeface="Arial" panose="020B0604020202020204" pitchFamily="34" charset="0"/>
              <a:buNone/>
              <a:defRPr/>
            </a:pPr>
            <a:endParaRPr lang="es-PE" sz="1728" dirty="0"/>
          </a:p>
        </p:txBody>
      </p:sp>
      <p:sp>
        <p:nvSpPr>
          <p:cNvPr id="37892" name="Marcador de número de diapositiva 3">
            <a:extLst>
              <a:ext uri="{FF2B5EF4-FFF2-40B4-BE49-F238E27FC236}">
                <a16:creationId xmlns:a16="http://schemas.microsoft.com/office/drawing/2014/main" id="{AD5370F4-9379-4BDD-28A9-62208A9CC03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fld id="{082445C6-23C9-4BB7-A42B-104CB7FDEFAF}" type="slidenum">
              <a:rPr lang="es-PE" altLang="en-US"/>
              <a:pPr eaLnBrk="1" hangingPunct="1"/>
              <a:t>22</a:t>
            </a:fld>
            <a:endParaRPr lang="es-PE" altLang="en-US"/>
          </a:p>
        </p:txBody>
      </p:sp>
    </p:spTree>
    <p:extLst>
      <p:ext uri="{BB962C8B-B14F-4D97-AF65-F5344CB8AC3E}">
        <p14:creationId xmlns:p14="http://schemas.microsoft.com/office/powerpoint/2010/main" val="3684750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latin typeface="Open Sans" panose="020B0606030504020204" pitchFamily="34" charset="0"/>
                <a:ea typeface="Open Sans" panose="020B0606030504020204" pitchFamily="34" charset="0"/>
                <a:cs typeface="Open Sans" panose="020B0606030504020204" pitchFamily="34" charset="0"/>
              </a:rPr>
              <a:t>Si bien de 2019 a 2020 hubo una mejora en la percepción de las políticas de minería, </a:t>
            </a:r>
            <a:r>
              <a:rPr lang="es-ES" sz="1200" b="1" dirty="0">
                <a:latin typeface="Open Sans" panose="020B0606030504020204" pitchFamily="34" charset="0"/>
                <a:ea typeface="Open Sans" panose="020B0606030504020204" pitchFamily="34" charset="0"/>
                <a:cs typeface="Open Sans" panose="020B0606030504020204" pitchFamily="34" charset="0"/>
              </a:rPr>
              <a:t>el descenso registrado en 2021 de 27 puntos es el más crítico de la región. </a:t>
            </a:r>
            <a:r>
              <a:rPr lang="es-ES" sz="1200" b="0" dirty="0">
                <a:latin typeface="Open Sans" panose="020B0606030504020204" pitchFamily="34" charset="0"/>
                <a:ea typeface="Open Sans" panose="020B0606030504020204" pitchFamily="34" charset="0"/>
                <a:cs typeface="Open Sans" panose="020B0606030504020204" pitchFamily="34" charset="0"/>
              </a:rPr>
              <a:t>Respecto al índice de potencial geológico, subió 6 puntos, pero no fueron suficiente para compensar la caída en la percepción política.</a:t>
            </a:r>
          </a:p>
          <a:p>
            <a:endParaRPr lang="es-PE"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23</a:t>
            </a:fld>
            <a:endParaRPr lang="es-PE"/>
          </a:p>
        </p:txBody>
      </p:sp>
    </p:spTree>
    <p:extLst>
      <p:ext uri="{BB962C8B-B14F-4D97-AF65-F5344CB8AC3E}">
        <p14:creationId xmlns:p14="http://schemas.microsoft.com/office/powerpoint/2010/main" val="3769142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Algunos ejemplos de la falta de seguridad jurídica. La carga regulatoria en el sector minero aumento en los últimos 20 años de 12 a 265. Tenemos más de 200 procedimientos administrativos que deben seguirse ante 29 instituciones del Estado, sin que haya una articulación adecuada entre las mismas. La tan ansiada ventanilla única no se ha concretado.</a:t>
            </a:r>
            <a:endParaRPr lang="es-PE"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24</a:t>
            </a:fld>
            <a:endParaRPr lang="es-PE"/>
          </a:p>
        </p:txBody>
      </p:sp>
    </p:spTree>
    <p:extLst>
      <p:ext uri="{BB962C8B-B14F-4D97-AF65-F5344CB8AC3E}">
        <p14:creationId xmlns:p14="http://schemas.microsoft.com/office/powerpoint/2010/main" val="834100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Marcador de imagen de diapositiva 1">
            <a:extLst>
              <a:ext uri="{FF2B5EF4-FFF2-40B4-BE49-F238E27FC236}">
                <a16:creationId xmlns:a16="http://schemas.microsoft.com/office/drawing/2014/main" id="{FBDE2634-666B-1A10-FD04-AD1EA397185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Marcador de notas 2">
            <a:extLst>
              <a:ext uri="{FF2B5EF4-FFF2-40B4-BE49-F238E27FC236}">
                <a16:creationId xmlns:a16="http://schemas.microsoft.com/office/drawing/2014/main" id="{5C7D4671-2BFE-D155-CB23-3705248CD6DE}"/>
              </a:ext>
            </a:extLst>
          </p:cNvPr>
          <p:cNvSpPr>
            <a:spLocks noGrp="1"/>
          </p:cNvSpPr>
          <p:nvPr>
            <p:ph type="body" idx="1"/>
          </p:nvPr>
        </p:nvSpPr>
        <p:spPr/>
        <p:txBody>
          <a:bodyPr/>
          <a:lstStyle/>
          <a:p>
            <a:pPr defTabSz="1316736" eaLnBrk="1" fontAlgn="auto" hangingPunct="1">
              <a:spcBef>
                <a:spcPts val="0"/>
              </a:spcBef>
              <a:spcAft>
                <a:spcPts val="0"/>
              </a:spcAft>
              <a:defRPr/>
            </a:pPr>
            <a:endParaRPr lang="en-US" sz="1728" dirty="0"/>
          </a:p>
        </p:txBody>
      </p:sp>
      <p:sp>
        <p:nvSpPr>
          <p:cNvPr id="24580" name="Marcador de número de diapositiva 3">
            <a:extLst>
              <a:ext uri="{FF2B5EF4-FFF2-40B4-BE49-F238E27FC236}">
                <a16:creationId xmlns:a16="http://schemas.microsoft.com/office/drawing/2014/main" id="{41A423F9-0758-6AB0-DE82-FEA9364B0F6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fld id="{E18A001B-9B39-47E7-B77F-214179B17BB3}" type="slidenum">
              <a:rPr lang="pt-BR" altLang="en-US"/>
              <a:pPr eaLnBrk="1" hangingPunct="1"/>
              <a:t>4</a:t>
            </a:fld>
            <a:endParaRPr lang="pt-BR"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Razones ajenas a la voluntad de la empresa: conflictividad social y </a:t>
            </a:r>
            <a:r>
              <a:rPr lang="es-ES" dirty="0" err="1"/>
              <a:t>permisología</a:t>
            </a:r>
            <a:r>
              <a:rPr lang="es-ES" dirty="0"/>
              <a:t>.</a:t>
            </a:r>
          </a:p>
        </p:txBody>
      </p:sp>
      <p:sp>
        <p:nvSpPr>
          <p:cNvPr id="4" name="Marcador de número de diapositiva 3"/>
          <p:cNvSpPr>
            <a:spLocks noGrp="1"/>
          </p:cNvSpPr>
          <p:nvPr>
            <p:ph type="sldNum" sz="quarter" idx="5"/>
          </p:nvPr>
        </p:nvSpPr>
        <p:spPr/>
        <p:txBody>
          <a:bodyPr/>
          <a:lstStyle/>
          <a:p>
            <a:fld id="{4E19E93B-8547-463A-8F7E-72AB70E8B57F}" type="slidenum">
              <a:rPr lang="es-PE" smtClean="0"/>
              <a:t>25</a:t>
            </a:fld>
            <a:endParaRPr lang="es-PE"/>
          </a:p>
        </p:txBody>
      </p:sp>
    </p:spTree>
    <p:extLst>
      <p:ext uri="{BB962C8B-B14F-4D97-AF65-F5344CB8AC3E}">
        <p14:creationId xmlns:p14="http://schemas.microsoft.com/office/powerpoint/2010/main" val="24838623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26</a:t>
            </a:fld>
            <a:endParaRPr lang="es-PE"/>
          </a:p>
        </p:txBody>
      </p:sp>
    </p:spTree>
    <p:extLst>
      <p:ext uri="{BB962C8B-B14F-4D97-AF65-F5344CB8AC3E}">
        <p14:creationId xmlns:p14="http://schemas.microsoft.com/office/powerpoint/2010/main" val="39924924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l propio convenio de la OIT y la ley de consulta previa establecen que se realiza en la etapa de exploración o explotación, sin embargo en el sector minero se ha determinado que debe realizarse en ambos casos. Los plazos para determinar si debe hacerse o no consulta previa toma alrededor de 1 año, si se define que hay consulta previa el plazo se extiende por un plazo similar. Estamos hablando de proyectos de exploración en los que se cuenta con acuerdos con las comunidades para el uso de propiedad superficial, y en los que por la naturaleza temporal de las actividades no involucran un impacto permanente. Se generan mayores expectativas. De cada 1000 depósitos con presencia mineral solo 1 se convierte en mina.</a:t>
            </a:r>
            <a:endParaRPr lang="es-PE"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27</a:t>
            </a:fld>
            <a:endParaRPr lang="es-PE"/>
          </a:p>
        </p:txBody>
      </p:sp>
    </p:spTree>
    <p:extLst>
      <p:ext uri="{BB962C8B-B14F-4D97-AF65-F5344CB8AC3E}">
        <p14:creationId xmlns:p14="http://schemas.microsoft.com/office/powerpoint/2010/main" val="10308867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Razones ajenas a la voluntad de la empresa: conflictividad social y </a:t>
            </a:r>
            <a:r>
              <a:rPr lang="es-ES" dirty="0" err="1"/>
              <a:t>permisología</a:t>
            </a:r>
            <a:r>
              <a:rPr lang="es-ES" dirty="0"/>
              <a:t>.</a:t>
            </a:r>
          </a:p>
        </p:txBody>
      </p:sp>
      <p:sp>
        <p:nvSpPr>
          <p:cNvPr id="4" name="Marcador de número de diapositiva 3"/>
          <p:cNvSpPr>
            <a:spLocks noGrp="1"/>
          </p:cNvSpPr>
          <p:nvPr>
            <p:ph type="sldNum" sz="quarter" idx="5"/>
          </p:nvPr>
        </p:nvSpPr>
        <p:spPr/>
        <p:txBody>
          <a:bodyPr/>
          <a:lstStyle/>
          <a:p>
            <a:fld id="{4E19E93B-8547-463A-8F7E-72AB70E8B57F}" type="slidenum">
              <a:rPr lang="es-PE" smtClean="0"/>
              <a:t>28</a:t>
            </a:fld>
            <a:endParaRPr lang="es-PE"/>
          </a:p>
        </p:txBody>
      </p:sp>
    </p:spTree>
    <p:extLst>
      <p:ext uri="{BB962C8B-B14F-4D97-AF65-F5344CB8AC3E}">
        <p14:creationId xmlns:p14="http://schemas.microsoft.com/office/powerpoint/2010/main" val="12471702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29</a:t>
            </a:fld>
            <a:endParaRPr lang="es-PE"/>
          </a:p>
        </p:txBody>
      </p:sp>
    </p:spTree>
    <p:extLst>
      <p:ext uri="{BB962C8B-B14F-4D97-AF65-F5344CB8AC3E}">
        <p14:creationId xmlns:p14="http://schemas.microsoft.com/office/powerpoint/2010/main" val="31768311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Razones ajenas a la voluntad de la empresa: conflictividad social y </a:t>
            </a:r>
            <a:r>
              <a:rPr lang="es-ES" dirty="0" err="1"/>
              <a:t>permisología</a:t>
            </a:r>
            <a:r>
              <a:rPr lang="es-ES" dirty="0"/>
              <a:t>.</a:t>
            </a:r>
          </a:p>
        </p:txBody>
      </p:sp>
      <p:sp>
        <p:nvSpPr>
          <p:cNvPr id="4" name="Marcador de número de diapositiva 3"/>
          <p:cNvSpPr>
            <a:spLocks noGrp="1"/>
          </p:cNvSpPr>
          <p:nvPr>
            <p:ph type="sldNum" sz="quarter" idx="5"/>
          </p:nvPr>
        </p:nvSpPr>
        <p:spPr/>
        <p:txBody>
          <a:bodyPr/>
          <a:lstStyle/>
          <a:p>
            <a:fld id="{4E19E93B-8547-463A-8F7E-72AB70E8B57F}" type="slidenum">
              <a:rPr lang="es-PE" smtClean="0"/>
              <a:t>30</a:t>
            </a:fld>
            <a:endParaRPr lang="es-PE"/>
          </a:p>
        </p:txBody>
      </p:sp>
    </p:spTree>
    <p:extLst>
      <p:ext uri="{BB962C8B-B14F-4D97-AF65-F5344CB8AC3E}">
        <p14:creationId xmlns:p14="http://schemas.microsoft.com/office/powerpoint/2010/main" val="11726489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31</a:t>
            </a:fld>
            <a:endParaRPr lang="es-PE"/>
          </a:p>
        </p:txBody>
      </p:sp>
    </p:spTree>
    <p:extLst>
      <p:ext uri="{BB962C8B-B14F-4D97-AF65-F5344CB8AC3E}">
        <p14:creationId xmlns:p14="http://schemas.microsoft.com/office/powerpoint/2010/main" val="35303616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32</a:t>
            </a:fld>
            <a:endParaRPr lang="es-PE"/>
          </a:p>
        </p:txBody>
      </p:sp>
    </p:spTree>
    <p:extLst>
      <p:ext uri="{BB962C8B-B14F-4D97-AF65-F5344CB8AC3E}">
        <p14:creationId xmlns:p14="http://schemas.microsoft.com/office/powerpoint/2010/main" val="2763201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1316038" rtl="0" eaLnBrk="0" fontAlgn="base" latinLnBrk="0" hangingPunct="0">
              <a:lnSpc>
                <a:spcPct val="100000"/>
              </a:lnSpc>
              <a:spcBef>
                <a:spcPct val="30000"/>
              </a:spcBef>
              <a:spcAft>
                <a:spcPct val="0"/>
              </a:spcAft>
              <a:buClrTx/>
              <a:buSzTx/>
              <a:buFont typeface="Arial" panose="020B0604020202020204" pitchFamily="34" charset="0"/>
              <a:buNone/>
              <a:tabLst/>
              <a:defRPr/>
            </a:pPr>
            <a:r>
              <a:rPr lang="es-PE" noProof="0" dirty="0"/>
              <a:t>Contamos con 5 operaciones mineras, 3 en Perú (Cerro Lindo, Atacocha y El Porvenir), y 2 en Brasil. Tenemos 3 refinerías, en Perú la refinería Cajamarquilla que es la primera productora de zinc refinado del Perú. Nuestra matriz cotiza en la Bolsa de Nueva York y Nexa Perú en la BVL. </a:t>
            </a:r>
            <a:r>
              <a:rPr lang="en-US" altLang="en-US" sz="1800" dirty="0" err="1">
                <a:latin typeface="Votorantim Sans" panose="02010503030202050203" pitchFamily="2" charset="0"/>
                <a:cs typeface="+mn-cs"/>
              </a:rPr>
              <a:t>Somos</a:t>
            </a:r>
            <a:r>
              <a:rPr lang="en-US" altLang="en-US" sz="1800" dirty="0">
                <a:latin typeface="Votorantim Sans" panose="020B0604020202020204" charset="0"/>
              </a:rPr>
              <a:t> </a:t>
            </a:r>
            <a:r>
              <a:rPr lang="en-US" altLang="en-US" sz="1800" dirty="0" err="1">
                <a:latin typeface="Votorantim Sans" panose="020B0604020202020204" charset="0"/>
              </a:rPr>
              <a:t>responsables</a:t>
            </a:r>
            <a:r>
              <a:rPr lang="en-US" altLang="en-US" sz="1800" dirty="0">
                <a:latin typeface="Votorantim Sans" panose="020B0604020202020204" charset="0"/>
              </a:rPr>
              <a:t> de </a:t>
            </a:r>
            <a:r>
              <a:rPr lang="en-US" altLang="en-US" sz="1800" dirty="0" err="1">
                <a:latin typeface="Votorantim Sans" panose="020B0604020202020204" charset="0"/>
              </a:rPr>
              <a:t>más</a:t>
            </a:r>
            <a:r>
              <a:rPr lang="en-US" altLang="en-US" sz="1800" dirty="0">
                <a:latin typeface="Votorantim Sans" panose="020B0604020202020204" charset="0"/>
              </a:rPr>
              <a:t> del 4% de la  </a:t>
            </a:r>
            <a:r>
              <a:rPr lang="en-US" altLang="en-US" sz="1800" dirty="0" err="1">
                <a:latin typeface="Votorantim Sans" panose="020B0604020202020204" charset="0"/>
              </a:rPr>
              <a:t>producción</a:t>
            </a:r>
            <a:r>
              <a:rPr lang="en-US" altLang="en-US" sz="1800" dirty="0">
                <a:latin typeface="Votorantim Sans" panose="020B0604020202020204" charset="0"/>
              </a:rPr>
              <a:t> </a:t>
            </a:r>
            <a:r>
              <a:rPr lang="en-US" altLang="en-US" sz="1800" dirty="0" err="1">
                <a:latin typeface="Votorantim Sans" panose="020B0604020202020204" charset="0"/>
              </a:rPr>
              <a:t>mundial</a:t>
            </a:r>
            <a:r>
              <a:rPr lang="en-US" altLang="en-US" sz="1800" dirty="0">
                <a:latin typeface="Votorantim Sans" panose="020B0604020202020204" charset="0"/>
              </a:rPr>
              <a:t> de zinc  y </a:t>
            </a:r>
            <a:r>
              <a:rPr lang="en-US" altLang="en-US" sz="1800" dirty="0" err="1">
                <a:latin typeface="Votorantim Sans" panose="020B0604020202020204" charset="0"/>
              </a:rPr>
              <a:t>el</a:t>
            </a:r>
            <a:r>
              <a:rPr lang="en-US" altLang="en-US" sz="1800" dirty="0">
                <a:latin typeface="Votorantim Sans" panose="020B0604020202020204" charset="0"/>
              </a:rPr>
              <a:t> </a:t>
            </a:r>
            <a:r>
              <a:rPr lang="en-US" altLang="en-US" sz="1800" dirty="0" err="1">
                <a:latin typeface="Votorantim Sans" panose="020B0604020202020204" charset="0"/>
              </a:rPr>
              <a:t>único</a:t>
            </a:r>
            <a:r>
              <a:rPr lang="en-US" altLang="en-US" sz="1800" dirty="0">
                <a:latin typeface="Votorantim Sans" panose="020B0604020202020204" charset="0"/>
              </a:rPr>
              <a:t> productor de zinc </a:t>
            </a:r>
            <a:r>
              <a:rPr lang="en-US" altLang="en-US" sz="1800" dirty="0" err="1">
                <a:latin typeface="Votorantim Sans" panose="020B0604020202020204" charset="0"/>
              </a:rPr>
              <a:t>metálico</a:t>
            </a:r>
            <a:r>
              <a:rPr lang="en-US" altLang="en-US" sz="1800" dirty="0">
                <a:latin typeface="Votorantim Sans" panose="020B0604020202020204" charset="0"/>
              </a:rPr>
              <a:t> de América Latina, con </a:t>
            </a:r>
            <a:r>
              <a:rPr lang="en-US" altLang="en-US" sz="1800" dirty="0" err="1">
                <a:latin typeface="Votorantim Sans" panose="020B0604020202020204" charset="0"/>
              </a:rPr>
              <a:t>excepción</a:t>
            </a:r>
            <a:r>
              <a:rPr lang="en-US" altLang="en-US" sz="1800" dirty="0">
                <a:latin typeface="Votorantim Sans" panose="020B0604020202020204" charset="0"/>
              </a:rPr>
              <a:t> de México.</a:t>
            </a:r>
          </a:p>
          <a:p>
            <a:pPr marL="0" marR="0" lvl="0" indent="0" algn="l" defTabSz="1316038"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s-PE" dirty="0"/>
          </a:p>
        </p:txBody>
      </p:sp>
      <p:sp>
        <p:nvSpPr>
          <p:cNvPr id="4" name="Marcador de número de diapositiva 3"/>
          <p:cNvSpPr>
            <a:spLocks noGrp="1"/>
          </p:cNvSpPr>
          <p:nvPr>
            <p:ph type="sldNum" sz="quarter" idx="10"/>
          </p:nvPr>
        </p:nvSpPr>
        <p:spPr/>
        <p:txBody>
          <a:bodyPr/>
          <a:lstStyle/>
          <a:p>
            <a:fld id="{D861F828-E37E-47C8-9394-4AB0EFAF0497}" type="slidenum">
              <a:rPr lang="es-PE" smtClean="0"/>
              <a:t>5</a:t>
            </a:fld>
            <a:endParaRPr lang="es-PE"/>
          </a:p>
        </p:txBody>
      </p:sp>
    </p:spTree>
    <p:extLst>
      <p:ext uri="{BB962C8B-B14F-4D97-AF65-F5344CB8AC3E}">
        <p14:creationId xmlns:p14="http://schemas.microsoft.com/office/powerpoint/2010/main" val="1911459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PE" dirty="0"/>
              <a:t>Comentar rápidamente nuestras metas asociadas a los temas ESG al 2030.</a:t>
            </a:r>
          </a:p>
        </p:txBody>
      </p:sp>
      <p:sp>
        <p:nvSpPr>
          <p:cNvPr id="4" name="Marcador de número de diapositiva 3"/>
          <p:cNvSpPr>
            <a:spLocks noGrp="1"/>
          </p:cNvSpPr>
          <p:nvPr>
            <p:ph type="sldNum" sz="quarter" idx="5"/>
          </p:nvPr>
        </p:nvSpPr>
        <p:spPr/>
        <p:txBody>
          <a:bodyPr/>
          <a:lstStyle/>
          <a:p>
            <a:fld id="{3BC696F2-85DE-422B-8ED7-254E9AF0949E}" type="slidenum">
              <a:rPr lang="pt-BR" altLang="en-US" smtClean="0"/>
              <a:pPr/>
              <a:t>6</a:t>
            </a:fld>
            <a:endParaRPr lang="pt-BR" altLang="en-US"/>
          </a:p>
        </p:txBody>
      </p:sp>
    </p:spTree>
    <p:extLst>
      <p:ext uri="{BB962C8B-B14F-4D97-AF65-F5344CB8AC3E}">
        <p14:creationId xmlns:p14="http://schemas.microsoft.com/office/powerpoint/2010/main" val="3628552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Marcador de imagen de diapositiva 1">
            <a:extLst>
              <a:ext uri="{FF2B5EF4-FFF2-40B4-BE49-F238E27FC236}">
                <a16:creationId xmlns:a16="http://schemas.microsoft.com/office/drawing/2014/main" id="{65DACD84-0DD6-654B-DCE4-C00C6876119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Marcador de notas 2">
            <a:extLst>
              <a:ext uri="{FF2B5EF4-FFF2-40B4-BE49-F238E27FC236}">
                <a16:creationId xmlns:a16="http://schemas.microsoft.com/office/drawing/2014/main" id="{1B4A7CAA-F372-F775-FB1E-E3128412A422}"/>
              </a:ext>
            </a:extLst>
          </p:cNvPr>
          <p:cNvSpPr>
            <a:spLocks noGrp="1"/>
          </p:cNvSpPr>
          <p:nvPr>
            <p:ph type="body" idx="1"/>
          </p:nvPr>
        </p:nvSpPr>
        <p:spPr/>
        <p:txBody>
          <a:bodyPr/>
          <a:lstStyle/>
          <a:p>
            <a:pPr defTabSz="1316736" eaLnBrk="1" fontAlgn="auto" hangingPunct="1">
              <a:spcBef>
                <a:spcPts val="0"/>
              </a:spcBef>
              <a:spcAft>
                <a:spcPts val="0"/>
              </a:spcAft>
              <a:buFont typeface="Arial" panose="020B0604020202020204" pitchFamily="34" charset="0"/>
              <a:buNone/>
              <a:defRPr/>
            </a:pPr>
            <a:endParaRPr lang="es-PE" sz="1728"/>
          </a:p>
        </p:txBody>
      </p:sp>
      <p:sp>
        <p:nvSpPr>
          <p:cNvPr id="34820" name="Marcador de número de diapositiva 3">
            <a:extLst>
              <a:ext uri="{FF2B5EF4-FFF2-40B4-BE49-F238E27FC236}">
                <a16:creationId xmlns:a16="http://schemas.microsoft.com/office/drawing/2014/main" id="{AED9FE39-3D4A-7E72-3EBD-46A3CD1AD00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1A11FDD-2A47-473E-946C-F3464030F1B1}" type="slidenum">
              <a:rPr kumimoji="0" lang="es-PE"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PE"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E4E87-5766-6186-7979-278C1ED196EA}"/>
            </a:ext>
          </a:extLst>
        </p:cNvPr>
        <p:cNvGrpSpPr/>
        <p:nvPr/>
      </p:nvGrpSpPr>
      <p:grpSpPr>
        <a:xfrm>
          <a:off x="0" y="0"/>
          <a:ext cx="0" cy="0"/>
          <a:chOff x="0" y="0"/>
          <a:chExt cx="0" cy="0"/>
        </a:xfrm>
      </p:grpSpPr>
      <p:sp>
        <p:nvSpPr>
          <p:cNvPr id="2" name="Espaço Reservado para Imagem de Slide 1">
            <a:extLst>
              <a:ext uri="{FF2B5EF4-FFF2-40B4-BE49-F238E27FC236}">
                <a16:creationId xmlns:a16="http://schemas.microsoft.com/office/drawing/2014/main" id="{7A31E4E8-CAC6-2020-F8FF-31736C3A8C8F}"/>
              </a:ext>
            </a:extLst>
          </p:cNvPr>
          <p:cNvSpPr>
            <a:spLocks noGrp="1" noRot="1" noChangeAspect="1"/>
          </p:cNvSpPr>
          <p:nvPr>
            <p:ph type="sldImg"/>
          </p:nvPr>
        </p:nvSpPr>
        <p:spPr/>
      </p:sp>
      <p:sp>
        <p:nvSpPr>
          <p:cNvPr id="3" name="Espaço Reservado para Anotações 2">
            <a:extLst>
              <a:ext uri="{FF2B5EF4-FFF2-40B4-BE49-F238E27FC236}">
                <a16:creationId xmlns:a16="http://schemas.microsoft.com/office/drawing/2014/main" id="{665507FE-AD55-BE31-1877-497ED781DCA5}"/>
              </a:ext>
            </a:extLst>
          </p:cNvPr>
          <p:cNvSpPr>
            <a:spLocks noGrp="1"/>
          </p:cNvSpPr>
          <p:nvPr>
            <p:ph type="body" idx="1"/>
          </p:nvPr>
        </p:nvSpPr>
        <p:spPr/>
        <p:txBody>
          <a:bodyPr/>
          <a:lstStyle/>
          <a:p>
            <a:endParaRPr lang="pt-BR" dirty="0"/>
          </a:p>
        </p:txBody>
      </p:sp>
      <p:sp>
        <p:nvSpPr>
          <p:cNvPr id="4" name="Espaço Reservado para Número de Slide 3">
            <a:extLst>
              <a:ext uri="{FF2B5EF4-FFF2-40B4-BE49-F238E27FC236}">
                <a16:creationId xmlns:a16="http://schemas.microsoft.com/office/drawing/2014/main" id="{D048B8E9-D006-3E13-F30E-83B901034F0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61F828-E37E-47C8-9394-4AB0EFAF0497}" type="slidenum">
              <a:rPr kumimoji="0" lang="es-P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P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81408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Marcador de imagen de diapositiva 1">
            <a:extLst>
              <a:ext uri="{FF2B5EF4-FFF2-40B4-BE49-F238E27FC236}">
                <a16:creationId xmlns:a16="http://schemas.microsoft.com/office/drawing/2014/main" id="{A193591C-ABA0-1C9D-609D-14F5AFF2DB2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Marcador de notas 2">
            <a:extLst>
              <a:ext uri="{FF2B5EF4-FFF2-40B4-BE49-F238E27FC236}">
                <a16:creationId xmlns:a16="http://schemas.microsoft.com/office/drawing/2014/main" id="{F68C04AF-A446-5AD2-9FD2-0ABF4EDFF6C2}"/>
              </a:ext>
            </a:extLst>
          </p:cNvPr>
          <p:cNvSpPr>
            <a:spLocks noGrp="1"/>
          </p:cNvSpPr>
          <p:nvPr>
            <p:ph type="body" idx="1"/>
          </p:nvPr>
        </p:nvSpPr>
        <p:spPr/>
        <p:txBody>
          <a:bodyPr/>
          <a:lstStyle/>
          <a:p>
            <a:pPr defTabSz="1316736" eaLnBrk="1" fontAlgn="auto" hangingPunct="1">
              <a:spcBef>
                <a:spcPts val="0"/>
              </a:spcBef>
              <a:spcAft>
                <a:spcPts val="0"/>
              </a:spcAft>
              <a:buFont typeface="Arial" panose="020B0604020202020204" pitchFamily="34" charset="0"/>
              <a:buNone/>
              <a:defRPr/>
            </a:pPr>
            <a:endParaRPr lang="es-PE" sz="1728" dirty="0"/>
          </a:p>
        </p:txBody>
      </p:sp>
      <p:sp>
        <p:nvSpPr>
          <p:cNvPr id="37892" name="Marcador de número de diapositiva 3">
            <a:extLst>
              <a:ext uri="{FF2B5EF4-FFF2-40B4-BE49-F238E27FC236}">
                <a16:creationId xmlns:a16="http://schemas.microsoft.com/office/drawing/2014/main" id="{AD5370F4-9379-4BDD-28A9-62208A9CC03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fld id="{082445C6-23C9-4BB7-A42B-104CB7FDEFAF}" type="slidenum">
              <a:rPr lang="es-PE" altLang="en-US"/>
              <a:pPr eaLnBrk="1" hangingPunct="1"/>
              <a:t>12</a:t>
            </a:fld>
            <a:endParaRPr lang="es-PE"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l Perú es uno de los más importantes productores mineros del mundo. Somos un país minero, el segundo productor en el mundo de cobre y zinc, tercero en plata, con posiciones importante en oro y estaño. Además si vemos nuestra posición en reservas, tenemos las mayores reservas de plata y zinc en Latinoamérica, y en el mundo también tenemos una importante posición.</a:t>
            </a:r>
          </a:p>
        </p:txBody>
      </p:sp>
      <p:sp>
        <p:nvSpPr>
          <p:cNvPr id="4" name="Marcador de número de diapositiva 3"/>
          <p:cNvSpPr>
            <a:spLocks noGrp="1"/>
          </p:cNvSpPr>
          <p:nvPr>
            <p:ph type="sldNum" sz="quarter" idx="5"/>
          </p:nvPr>
        </p:nvSpPr>
        <p:spPr/>
        <p:txBody>
          <a:bodyPr/>
          <a:lstStyle/>
          <a:p>
            <a:fld id="{4E19E93B-8547-463A-8F7E-72AB70E8B57F}" type="slidenum">
              <a:rPr lang="es-PE" smtClean="0"/>
              <a:t>13</a:t>
            </a:fld>
            <a:endParaRPr lang="es-PE"/>
          </a:p>
        </p:txBody>
      </p:sp>
    </p:spTree>
    <p:extLst>
      <p:ext uri="{BB962C8B-B14F-4D97-AF65-F5344CB8AC3E}">
        <p14:creationId xmlns:p14="http://schemas.microsoft.com/office/powerpoint/2010/main" val="3678031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26395" marR="0" lvl="0" indent="-326395" algn="l" defTabSz="457200" rtl="0" eaLnBrk="1" fontAlgn="base" latinLnBrk="0" hangingPunct="1">
              <a:lnSpc>
                <a:spcPct val="107000"/>
              </a:lnSpc>
              <a:spcBef>
                <a:spcPct val="0"/>
              </a:spcBef>
              <a:spcAft>
                <a:spcPts val="864"/>
              </a:spcAft>
              <a:buClrTx/>
              <a:buSzTx/>
              <a:buFont typeface="Arial" panose="020B0604020202020204" pitchFamily="34" charset="0"/>
              <a:buChar char="•"/>
              <a:tabLst/>
              <a:defRPr/>
            </a:pPr>
            <a:r>
              <a:rPr kumimoji="0" lang="es-MX" sz="1584" b="1"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rPr>
              <a:t>18</a:t>
            </a:r>
            <a:r>
              <a:rPr kumimoji="0" lang="es-MX" sz="1584"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regiones con presencia minera</a:t>
            </a:r>
          </a:p>
          <a:p>
            <a:pPr marL="326395" marR="0" lvl="0" indent="-326395" algn="l" defTabSz="457200" rtl="0" eaLnBrk="1" fontAlgn="base" latinLnBrk="0" hangingPunct="1">
              <a:lnSpc>
                <a:spcPct val="107000"/>
              </a:lnSpc>
              <a:spcBef>
                <a:spcPct val="0"/>
              </a:spcBef>
              <a:spcAft>
                <a:spcPts val="864"/>
              </a:spcAft>
              <a:buClrTx/>
              <a:buSzTx/>
              <a:buFont typeface="Arial" panose="020B0604020202020204" pitchFamily="34" charset="0"/>
              <a:buChar char="•"/>
              <a:tabLst/>
              <a:defRPr/>
            </a:pPr>
            <a:r>
              <a:rPr kumimoji="0" lang="es-MX" sz="1584" b="1"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rPr>
              <a:t>14%</a:t>
            </a:r>
            <a:r>
              <a:rPr kumimoji="0" lang="es-MX" sz="1584"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de la inversión privada</a:t>
            </a:r>
          </a:p>
          <a:p>
            <a:pPr marL="326395" marR="0" lvl="0" indent="-326395" algn="l" defTabSz="457200" rtl="0" eaLnBrk="1" fontAlgn="base" latinLnBrk="0" hangingPunct="1">
              <a:lnSpc>
                <a:spcPct val="107000"/>
              </a:lnSpc>
              <a:spcBef>
                <a:spcPct val="0"/>
              </a:spcBef>
              <a:spcAft>
                <a:spcPts val="864"/>
              </a:spcAft>
              <a:buClrTx/>
              <a:buSzTx/>
              <a:buFont typeface="Arial" panose="020B0604020202020204" pitchFamily="34" charset="0"/>
              <a:buChar char="•"/>
              <a:tabLst/>
              <a:defRPr/>
            </a:pPr>
            <a:r>
              <a:rPr kumimoji="0" lang="es-MX" sz="1584"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Consume el </a:t>
            </a:r>
            <a:r>
              <a:rPr kumimoji="0" lang="es-MX" sz="1584" b="1"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rPr>
              <a:t>13%</a:t>
            </a:r>
            <a:r>
              <a:rPr kumimoji="0" lang="es-MX" sz="1584"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 de lo producido por la manufactura.</a:t>
            </a:r>
          </a:p>
          <a:p>
            <a:pPr marL="326395" marR="0" lvl="0" indent="-326395" algn="l" defTabSz="457200" rtl="0" eaLnBrk="1" fontAlgn="base" latinLnBrk="0" hangingPunct="1">
              <a:lnSpc>
                <a:spcPct val="107000"/>
              </a:lnSpc>
              <a:spcBef>
                <a:spcPct val="0"/>
              </a:spcBef>
              <a:spcAft>
                <a:spcPts val="864"/>
              </a:spcAft>
              <a:buClrTx/>
              <a:buSzTx/>
              <a:buFont typeface="Arial" panose="020B0604020202020204" pitchFamily="34" charset="0"/>
              <a:buChar char="•"/>
              <a:tabLst/>
              <a:defRPr/>
            </a:pPr>
            <a:r>
              <a:rPr kumimoji="0" lang="es-MX" sz="1584"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Por cada empleo directo, se generan </a:t>
            </a:r>
            <a:r>
              <a:rPr kumimoji="0" lang="es-MX" sz="1584" b="1"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rPr>
              <a:t>8</a:t>
            </a:r>
            <a:r>
              <a:rPr kumimoji="0" lang="es-MX" sz="1584" b="0"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s-MX" sz="1584" b="1"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rPr>
              <a:t>empleos indirectos</a:t>
            </a:r>
            <a:endParaRPr kumimoji="0" lang="es-PE" sz="1584"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endParaRPr lang="es-ES" dirty="0"/>
          </a:p>
        </p:txBody>
      </p:sp>
      <p:sp>
        <p:nvSpPr>
          <p:cNvPr id="4" name="Marcador de número de diapositiva 3"/>
          <p:cNvSpPr>
            <a:spLocks noGrp="1"/>
          </p:cNvSpPr>
          <p:nvPr>
            <p:ph type="sldNum" sz="quarter" idx="5"/>
          </p:nvPr>
        </p:nvSpPr>
        <p:spPr/>
        <p:txBody>
          <a:bodyPr/>
          <a:lstStyle/>
          <a:p>
            <a:fld id="{4E19E93B-8547-463A-8F7E-72AB70E8B57F}" type="slidenum">
              <a:rPr lang="es-PE" smtClean="0"/>
              <a:t>14</a:t>
            </a:fld>
            <a:endParaRPr lang="es-PE"/>
          </a:p>
        </p:txBody>
      </p:sp>
    </p:spTree>
    <p:extLst>
      <p:ext uri="{BB962C8B-B14F-4D97-AF65-F5344CB8AC3E}">
        <p14:creationId xmlns:p14="http://schemas.microsoft.com/office/powerpoint/2010/main" val="39325221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194719" y="1615995"/>
            <a:ext cx="13168313" cy="3437702"/>
          </a:xfrm>
        </p:spPr>
        <p:txBody>
          <a:bodyPr anchor="b"/>
          <a:lstStyle>
            <a:lvl1pPr algn="ctr">
              <a:defRPr sz="8639"/>
            </a:lvl1pPr>
          </a:lstStyle>
          <a:p>
            <a:r>
              <a:rPr lang="en-US"/>
              <a:t>Click to edit Master title style</a:t>
            </a:r>
            <a:endParaRPr lang="en-US" dirty="0"/>
          </a:p>
        </p:txBody>
      </p:sp>
      <p:sp>
        <p:nvSpPr>
          <p:cNvPr id="3" name="Subtitle 2"/>
          <p:cNvSpPr>
            <a:spLocks noGrp="1"/>
          </p:cNvSpPr>
          <p:nvPr>
            <p:ph type="subTitle" idx="1"/>
          </p:nvPr>
        </p:nvSpPr>
        <p:spPr>
          <a:xfrm>
            <a:off x="2194719" y="5186268"/>
            <a:ext cx="13168313" cy="2383991"/>
          </a:xfrm>
        </p:spPr>
        <p:txBody>
          <a:bodyPr/>
          <a:lstStyle>
            <a:lvl1pPr marL="0" indent="0" algn="ctr">
              <a:buNone/>
              <a:defRPr sz="3456"/>
            </a:lvl1pPr>
            <a:lvl2pPr marL="658277" indent="0" algn="ctr">
              <a:buNone/>
              <a:defRPr sz="2880"/>
            </a:lvl2pPr>
            <a:lvl3pPr marL="1316553" indent="0" algn="ctr">
              <a:buNone/>
              <a:defRPr sz="2592"/>
            </a:lvl3pPr>
            <a:lvl4pPr marL="1974830" indent="0" algn="ctr">
              <a:buNone/>
              <a:defRPr sz="2304"/>
            </a:lvl4pPr>
            <a:lvl5pPr marL="2633106" indent="0" algn="ctr">
              <a:buNone/>
              <a:defRPr sz="2304"/>
            </a:lvl5pPr>
            <a:lvl6pPr marL="3291383" indent="0" algn="ctr">
              <a:buNone/>
              <a:defRPr sz="2304"/>
            </a:lvl6pPr>
            <a:lvl7pPr marL="3949659" indent="0" algn="ctr">
              <a:buNone/>
              <a:defRPr sz="2304"/>
            </a:lvl7pPr>
            <a:lvl8pPr marL="4607936" indent="0" algn="ctr">
              <a:buNone/>
              <a:defRPr sz="2304"/>
            </a:lvl8pPr>
            <a:lvl9pPr marL="5266212" indent="0" algn="ctr">
              <a:buNone/>
              <a:defRPr sz="2304"/>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92B77C9-C652-625C-5AB2-9289C5A06DE5}"/>
              </a:ext>
            </a:extLst>
          </p:cNvPr>
          <p:cNvSpPr>
            <a:spLocks noGrp="1"/>
          </p:cNvSpPr>
          <p:nvPr>
            <p:ph type="dt" sz="half" idx="10"/>
          </p:nvPr>
        </p:nvSpPr>
        <p:spPr/>
        <p:txBody>
          <a:bodyPr/>
          <a:lstStyle>
            <a:lvl1pPr>
              <a:defRPr/>
            </a:lvl1pPr>
          </a:lstStyle>
          <a:p>
            <a:pPr>
              <a:defRPr/>
            </a:pPr>
            <a:fld id="{AC336446-1EB4-4991-9CF0-2F4C03CFF49F}" type="datetimeFigureOut">
              <a:rPr lang="en-US"/>
              <a:pPr>
                <a:defRPr/>
              </a:pPr>
              <a:t>9/9/2024</a:t>
            </a:fld>
            <a:endParaRPr lang="en-US"/>
          </a:p>
        </p:txBody>
      </p:sp>
      <p:sp>
        <p:nvSpPr>
          <p:cNvPr id="5" name="Footer Placeholder 4">
            <a:extLst>
              <a:ext uri="{FF2B5EF4-FFF2-40B4-BE49-F238E27FC236}">
                <a16:creationId xmlns:a16="http://schemas.microsoft.com/office/drawing/2014/main" id="{5CB18D07-6D99-5E92-A213-20A16B3AA3C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4F612D1-6887-0D11-38C9-C81F42CBCADB}"/>
              </a:ext>
            </a:extLst>
          </p:cNvPr>
          <p:cNvSpPr>
            <a:spLocks noGrp="1"/>
          </p:cNvSpPr>
          <p:nvPr>
            <p:ph type="sldNum" sz="quarter" idx="12"/>
          </p:nvPr>
        </p:nvSpPr>
        <p:spPr/>
        <p:txBody>
          <a:bodyPr/>
          <a:lstStyle>
            <a:lvl1pPr>
              <a:defRPr/>
            </a:lvl1pPr>
          </a:lstStyle>
          <a:p>
            <a:fld id="{EE8BCCDC-7ECA-4FA6-8092-8FE0331A35A5}" type="slidenum">
              <a:rPr lang="en-US" altLang="en-US"/>
              <a:pPr/>
              <a:t>‹Nº›</a:t>
            </a:fld>
            <a:endParaRPr lang="en-US" altLang="en-US"/>
          </a:p>
        </p:txBody>
      </p:sp>
    </p:spTree>
    <p:extLst>
      <p:ext uri="{BB962C8B-B14F-4D97-AF65-F5344CB8AC3E}">
        <p14:creationId xmlns:p14="http://schemas.microsoft.com/office/powerpoint/2010/main" val="1958464606"/>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16354D9-3ED6-3F58-7D1C-E9E6D93F84CD}"/>
              </a:ext>
            </a:extLst>
          </p:cNvPr>
          <p:cNvSpPr>
            <a:spLocks noGrp="1"/>
          </p:cNvSpPr>
          <p:nvPr>
            <p:ph type="dt" sz="half" idx="10"/>
          </p:nvPr>
        </p:nvSpPr>
        <p:spPr/>
        <p:txBody>
          <a:bodyPr/>
          <a:lstStyle>
            <a:lvl1pPr>
              <a:defRPr/>
            </a:lvl1pPr>
          </a:lstStyle>
          <a:p>
            <a:pPr>
              <a:defRPr/>
            </a:pPr>
            <a:fld id="{7025C3CD-16D9-4BEE-A6BE-B3985D7DD0BC}" type="datetimeFigureOut">
              <a:rPr lang="en-US"/>
              <a:pPr>
                <a:defRPr/>
              </a:pPr>
              <a:t>9/9/2024</a:t>
            </a:fld>
            <a:endParaRPr lang="en-US"/>
          </a:p>
        </p:txBody>
      </p:sp>
      <p:sp>
        <p:nvSpPr>
          <p:cNvPr id="5" name="Footer Placeholder 4">
            <a:extLst>
              <a:ext uri="{FF2B5EF4-FFF2-40B4-BE49-F238E27FC236}">
                <a16:creationId xmlns:a16="http://schemas.microsoft.com/office/drawing/2014/main" id="{D22C4BE5-8850-B154-EA00-3C1FE71F13F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8FB19C4-8812-CAA4-2735-77EE420177BB}"/>
              </a:ext>
            </a:extLst>
          </p:cNvPr>
          <p:cNvSpPr>
            <a:spLocks noGrp="1"/>
          </p:cNvSpPr>
          <p:nvPr>
            <p:ph type="sldNum" sz="quarter" idx="12"/>
          </p:nvPr>
        </p:nvSpPr>
        <p:spPr/>
        <p:txBody>
          <a:bodyPr/>
          <a:lstStyle>
            <a:lvl1pPr>
              <a:defRPr/>
            </a:lvl1pPr>
          </a:lstStyle>
          <a:p>
            <a:fld id="{94719213-5D52-425E-850C-EFFA9400F0CA}" type="slidenum">
              <a:rPr lang="en-US" altLang="en-US"/>
              <a:pPr/>
              <a:t>‹Nº›</a:t>
            </a:fld>
            <a:endParaRPr lang="en-US" altLang="en-US"/>
          </a:p>
        </p:txBody>
      </p:sp>
    </p:spTree>
    <p:extLst>
      <p:ext uri="{BB962C8B-B14F-4D97-AF65-F5344CB8AC3E}">
        <p14:creationId xmlns:p14="http://schemas.microsoft.com/office/powerpoint/2010/main" val="3809029868"/>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564765" y="525713"/>
            <a:ext cx="3785890" cy="836797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207095" y="525713"/>
            <a:ext cx="11138198" cy="836797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C0C4FF3-BA48-72A9-AA67-7621D64BDC6E}"/>
              </a:ext>
            </a:extLst>
          </p:cNvPr>
          <p:cNvSpPr>
            <a:spLocks noGrp="1"/>
          </p:cNvSpPr>
          <p:nvPr>
            <p:ph type="dt" sz="half" idx="10"/>
          </p:nvPr>
        </p:nvSpPr>
        <p:spPr/>
        <p:txBody>
          <a:bodyPr/>
          <a:lstStyle>
            <a:lvl1pPr>
              <a:defRPr/>
            </a:lvl1pPr>
          </a:lstStyle>
          <a:p>
            <a:pPr>
              <a:defRPr/>
            </a:pPr>
            <a:fld id="{45732294-A4B2-48C5-BA70-E11E9F07ECD2}" type="datetimeFigureOut">
              <a:rPr lang="en-US"/>
              <a:pPr>
                <a:defRPr/>
              </a:pPr>
              <a:t>9/9/2024</a:t>
            </a:fld>
            <a:endParaRPr lang="en-US"/>
          </a:p>
        </p:txBody>
      </p:sp>
      <p:sp>
        <p:nvSpPr>
          <p:cNvPr id="5" name="Footer Placeholder 4">
            <a:extLst>
              <a:ext uri="{FF2B5EF4-FFF2-40B4-BE49-F238E27FC236}">
                <a16:creationId xmlns:a16="http://schemas.microsoft.com/office/drawing/2014/main" id="{F14921C7-67DD-2DD9-5E1F-A31CDEAA554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4B9705F-4156-F184-11EF-E6D05BB0E1DE}"/>
              </a:ext>
            </a:extLst>
          </p:cNvPr>
          <p:cNvSpPr>
            <a:spLocks noGrp="1"/>
          </p:cNvSpPr>
          <p:nvPr>
            <p:ph type="sldNum" sz="quarter" idx="12"/>
          </p:nvPr>
        </p:nvSpPr>
        <p:spPr/>
        <p:txBody>
          <a:bodyPr/>
          <a:lstStyle>
            <a:lvl1pPr>
              <a:defRPr/>
            </a:lvl1pPr>
          </a:lstStyle>
          <a:p>
            <a:fld id="{14A4F962-2ADE-4A63-83A0-DD617100BA78}" type="slidenum">
              <a:rPr lang="en-US" altLang="en-US"/>
              <a:pPr/>
              <a:t>‹Nº›</a:t>
            </a:fld>
            <a:endParaRPr lang="en-US" altLang="en-US"/>
          </a:p>
        </p:txBody>
      </p:sp>
    </p:spTree>
    <p:extLst>
      <p:ext uri="{BB962C8B-B14F-4D97-AF65-F5344CB8AC3E}">
        <p14:creationId xmlns:p14="http://schemas.microsoft.com/office/powerpoint/2010/main" val="3747079158"/>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857392074"/>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Capa">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295419006"/>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7" name="Objeto 6" hidden="1"/>
                      <p:cNvPicPr/>
                      <p:nvPr/>
                    </p:nvPicPr>
                    <p:blipFill>
                      <a:blip r:embed="rId4"/>
                      <a:stretch>
                        <a:fillRect/>
                      </a:stretch>
                    </p:blipFill>
                    <p:spPr>
                      <a:xfrm>
                        <a:off x="2287" y="2287"/>
                        <a:ext cx="2287" cy="2286"/>
                      </a:xfrm>
                      <a:prstGeom prst="rect">
                        <a:avLst/>
                      </a:prstGeom>
                    </p:spPr>
                  </p:pic>
                </p:oleObj>
              </mc:Fallback>
            </mc:AlternateContent>
          </a:graphicData>
        </a:graphic>
      </p:graphicFrame>
      <p:pic>
        <p:nvPicPr>
          <p:cNvPr id="20" name="Imagem 1"/>
          <p:cNvPicPr>
            <a:picLocks noChangeAspect="1"/>
          </p:cNvPicPr>
          <p:nvPr userDrawn="1"/>
        </p:nvPicPr>
        <p:blipFill rotWithShape="1">
          <a:blip r:embed="rId5" cstate="print">
            <a:extLst>
              <a:ext uri="{28A0092B-C50C-407E-A947-70E740481C1C}">
                <a14:useLocalDpi xmlns:a14="http://schemas.microsoft.com/office/drawing/2010/main" val="0"/>
              </a:ext>
            </a:extLst>
          </a:blip>
          <a:srcRect t="14599" b="17182"/>
          <a:stretch/>
        </p:blipFill>
        <p:spPr>
          <a:xfrm>
            <a:off x="-1728" y="-4452"/>
            <a:ext cx="17559478" cy="9878703"/>
          </a:xfrm>
          <a:prstGeom prst="rect">
            <a:avLst/>
          </a:prstGeom>
        </p:spPr>
      </p:pic>
      <p:pic>
        <p:nvPicPr>
          <p:cNvPr id="2" name="Imagem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16584"/>
            <a:ext cx="17559478" cy="9857666"/>
          </a:xfrm>
          <a:prstGeom prst="rtTriangle">
            <a:avLst/>
          </a:prstGeom>
        </p:spPr>
      </p:pic>
      <p:pic>
        <p:nvPicPr>
          <p:cNvPr id="18" name="Picture 15">
            <a:extLst>
              <a:ext uri="{FF2B5EF4-FFF2-40B4-BE49-F238E27FC236}">
                <a16:creationId xmlns:a16="http://schemas.microsoft.com/office/drawing/2014/main" id="{EAD47B6A-1EC9-D84C-A808-C6C25BED8A14}"/>
              </a:ext>
            </a:extLst>
          </p:cNvPr>
          <p:cNvPicPr>
            <a:picLocks noChangeAspect="1"/>
          </p:cNvPicPr>
          <p:nvPr userDrawn="1"/>
        </p:nvPicPr>
        <p:blipFill rotWithShape="1">
          <a:blip r:embed="rId7"/>
          <a:srcRect l="75112" t="1" r="-2" b="56105"/>
          <a:stretch/>
        </p:blipFill>
        <p:spPr>
          <a:xfrm flipH="1">
            <a:off x="0" y="0"/>
            <a:ext cx="3629063" cy="3599263"/>
          </a:xfrm>
          <a:prstGeom prst="rect">
            <a:avLst/>
          </a:prstGeom>
        </p:spPr>
      </p:pic>
      <p:pic>
        <p:nvPicPr>
          <p:cNvPr id="17" name="Picture 14">
            <a:extLst>
              <a:ext uri="{FF2B5EF4-FFF2-40B4-BE49-F238E27FC236}">
                <a16:creationId xmlns:a16="http://schemas.microsoft.com/office/drawing/2014/main" id="{5BD1B0D9-3974-C543-BEF3-9A2BE622CA3E}"/>
              </a:ext>
            </a:extLst>
          </p:cNvPr>
          <p:cNvPicPr>
            <a:picLocks noChangeAspect="1"/>
          </p:cNvPicPr>
          <p:nvPr userDrawn="1"/>
        </p:nvPicPr>
        <p:blipFill rotWithShape="1">
          <a:blip r:embed="rId7"/>
          <a:srcRect t="58864" r="77279"/>
          <a:stretch/>
        </p:blipFill>
        <p:spPr>
          <a:xfrm flipH="1">
            <a:off x="13928687" y="6179069"/>
            <a:ext cx="3629063" cy="3695181"/>
          </a:xfrm>
          <a:prstGeom prst="rect">
            <a:avLst/>
          </a:prstGeom>
        </p:spPr>
      </p:pic>
      <p:pic>
        <p:nvPicPr>
          <p:cNvPr id="16" name="Imagem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47310" y="8772717"/>
            <a:ext cx="1661402" cy="934351"/>
          </a:xfrm>
          <a:prstGeom prst="rect">
            <a:avLst/>
          </a:prstGeom>
          <a:noFill/>
        </p:spPr>
      </p:pic>
      <p:sp>
        <p:nvSpPr>
          <p:cNvPr id="10" name="CuadroTexto 5">
            <a:extLst>
              <a:ext uri="{FF2B5EF4-FFF2-40B4-BE49-F238E27FC236}">
                <a16:creationId xmlns:a16="http://schemas.microsoft.com/office/drawing/2014/main" id="{FCC99644-395F-46D8-8D25-D1EC0B89C9BD}"/>
              </a:ext>
            </a:extLst>
          </p:cNvPr>
          <p:cNvSpPr txBox="1"/>
          <p:nvPr userDrawn="1"/>
        </p:nvSpPr>
        <p:spPr>
          <a:xfrm>
            <a:off x="1002313" y="56374"/>
            <a:ext cx="15553125" cy="664754"/>
          </a:xfrm>
          <a:prstGeom prst="rect">
            <a:avLst/>
          </a:prstGeom>
          <a:noFill/>
          <a:ln cap="flat">
            <a:noFill/>
          </a:ln>
        </p:spPr>
        <p:txBody>
          <a:bodyPr vert="horz" wrap="square" lIns="131657" tIns="65828" rIns="131657" bIns="65828" anchor="ctr" anchorCtr="0" compatLnSpc="1">
            <a:spAutoFit/>
          </a:bodyPr>
          <a:lstStyle/>
          <a:p>
            <a:pPr algn="ctr">
              <a:defRPr sz="1800" b="0" i="0" u="none" strike="noStrike" kern="0" cap="none" spc="0" baseline="0">
                <a:solidFill>
                  <a:srgbClr val="000000"/>
                </a:solidFill>
                <a:uFillTx/>
              </a:defRPr>
            </a:pPr>
            <a:r>
              <a:rPr lang="en-US" sz="3456" b="1" kern="0">
                <a:solidFill>
                  <a:srgbClr val="FF5000"/>
                </a:solidFill>
                <a:effectLst>
                  <a:outerShdw dist="38096" dir="2700000">
                    <a:srgbClr val="000000"/>
                  </a:outerShdw>
                </a:effectLst>
                <a:latin typeface="Votorantim Sans" panose="020B0604020202020204" charset="0"/>
                <a:ea typeface="Verdana" pitchFamily="34"/>
                <a:cs typeface="Verdana" pitchFamily="34"/>
              </a:rPr>
              <a:t>From the world of mining </a:t>
            </a:r>
            <a:r>
              <a:rPr lang="en-US" sz="3456" b="1" kern="0">
                <a:solidFill>
                  <a:srgbClr val="FFFFFF"/>
                </a:solidFill>
                <a:effectLst>
                  <a:outerShdw dist="38096" dir="2700000">
                    <a:srgbClr val="000000"/>
                  </a:outerShdw>
                </a:effectLst>
                <a:latin typeface="Votorantim Sans" panose="020B0604020202020204" charset="0"/>
                <a:ea typeface="Verdana" pitchFamily="34"/>
                <a:cs typeface="Verdana" pitchFamily="34"/>
              </a:rPr>
              <a:t>to the world of people</a:t>
            </a:r>
            <a:endParaRPr lang="es-PE" sz="3456" b="1" kern="0">
              <a:solidFill>
                <a:srgbClr val="FFFFFF"/>
              </a:solidFill>
              <a:effectLst>
                <a:outerShdw dist="38096" dir="2700000">
                  <a:srgbClr val="000000"/>
                </a:outerShdw>
              </a:effectLst>
              <a:latin typeface="Votorantim Sans" panose="020B0604020202020204" charset="0"/>
              <a:ea typeface="Verdana" pitchFamily="34"/>
              <a:cs typeface="Verdana" pitchFamily="34"/>
            </a:endParaRPr>
          </a:p>
        </p:txBody>
      </p:sp>
    </p:spTree>
    <p:extLst>
      <p:ext uri="{BB962C8B-B14F-4D97-AF65-F5344CB8AC3E}">
        <p14:creationId xmlns:p14="http://schemas.microsoft.com/office/powerpoint/2010/main" val="21472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1990023541"/>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7" name="Objeto 6"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13" name="Espaço Reservado para Texto 75"/>
          <p:cNvSpPr>
            <a:spLocks noGrp="1"/>
          </p:cNvSpPr>
          <p:nvPr>
            <p:ph type="body" sz="quarter" idx="14"/>
          </p:nvPr>
        </p:nvSpPr>
        <p:spPr>
          <a:xfrm>
            <a:off x="1002313" y="2115059"/>
            <a:ext cx="6221250" cy="6738333"/>
          </a:xfrm>
          <a:prstGeom prst="rect">
            <a:avLst/>
          </a:prstGeom>
        </p:spPr>
        <p:txBody>
          <a:bodyPr anchor="ctr"/>
          <a:lstStyle>
            <a:lvl1pPr marL="0" indent="0">
              <a:lnSpc>
                <a:spcPct val="150000"/>
              </a:lnSpc>
              <a:buNone/>
              <a:defRPr sz="2592">
                <a:latin typeface="Votorantim Sans" panose="020B0604020202020204" charset="0"/>
              </a:defRPr>
            </a:lvl1pPr>
          </a:lstStyle>
          <a:p>
            <a:pPr lvl="0"/>
            <a:r>
              <a:rPr lang="pt-BR"/>
              <a:t>Clique para editar o texto mestre</a:t>
            </a:r>
            <a:endParaRPr lang="en-US"/>
          </a:p>
        </p:txBody>
      </p:sp>
      <p:pic>
        <p:nvPicPr>
          <p:cNvPr id="16" name="Imagem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12"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sp>
        <p:nvSpPr>
          <p:cNvPr id="344" name="Freeform 5">
            <a:extLst>
              <a:ext uri="{FF2B5EF4-FFF2-40B4-BE49-F238E27FC236}">
                <a16:creationId xmlns:a16="http://schemas.microsoft.com/office/drawing/2014/main" id="{ACD42618-0723-4B89-86E4-C8BB9BF58E45}"/>
              </a:ext>
            </a:extLst>
          </p:cNvPr>
          <p:cNvSpPr>
            <a:spLocks noChangeAspect="1"/>
          </p:cNvSpPr>
          <p:nvPr userDrawn="1"/>
        </p:nvSpPr>
        <p:spPr bwMode="auto">
          <a:xfrm rot="16200000" flipV="1">
            <a:off x="-138" y="139"/>
            <a:ext cx="1411678" cy="1411399"/>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spTree>
    <p:extLst>
      <p:ext uri="{BB962C8B-B14F-4D97-AF65-F5344CB8AC3E}">
        <p14:creationId xmlns:p14="http://schemas.microsoft.com/office/powerpoint/2010/main" val="242596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ojects Portfoli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2522631831"/>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7" name="Objeto 6"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13" name="Espaço Reservado para Texto 3"/>
          <p:cNvSpPr>
            <a:spLocks noGrp="1"/>
          </p:cNvSpPr>
          <p:nvPr>
            <p:ph type="body" sz="quarter" idx="18"/>
          </p:nvPr>
        </p:nvSpPr>
        <p:spPr>
          <a:xfrm>
            <a:off x="1002313" y="8851771"/>
            <a:ext cx="15553125" cy="414667"/>
          </a:xfrm>
          <a:prstGeom prst="rect">
            <a:avLst/>
          </a:prstGeom>
        </p:spPr>
        <p:txBody>
          <a:bodyPr anchor="ctr"/>
          <a:lstStyle>
            <a:lvl1pPr marL="0" indent="0">
              <a:buNone/>
              <a:defRPr sz="1152">
                <a:latin typeface="Votorantim Sans" panose="020B0604020202020204" charset="0"/>
              </a:defRPr>
            </a:lvl1pPr>
          </a:lstStyle>
          <a:p>
            <a:pPr lvl="0"/>
            <a:r>
              <a:rPr lang="pt-BR"/>
              <a:t>Clique para editar o texto mestre</a:t>
            </a:r>
            <a:endParaRPr lang="en-US"/>
          </a:p>
        </p:txBody>
      </p:sp>
      <p:sp>
        <p:nvSpPr>
          <p:cNvPr id="14" name="Freeform 5"/>
          <p:cNvSpPr>
            <a:spLocks noChangeAspect="1"/>
          </p:cNvSpPr>
          <p:nvPr userDrawn="1"/>
        </p:nvSpPr>
        <p:spPr bwMode="auto">
          <a:xfrm rot="16200000" flipV="1">
            <a:off x="-204" y="205"/>
            <a:ext cx="2074160" cy="2073750"/>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pic>
        <p:nvPicPr>
          <p:cNvPr id="15" name="Imagem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12"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pic>
        <p:nvPicPr>
          <p:cNvPr id="344" name="Imagem 343">
            <a:extLst>
              <a:ext uri="{FF2B5EF4-FFF2-40B4-BE49-F238E27FC236}">
                <a16:creationId xmlns:a16="http://schemas.microsoft.com/office/drawing/2014/main" id="{DA9CAFB3-B8A0-486D-989E-3E6039251165}"/>
              </a:ext>
            </a:extLst>
          </p:cNvPr>
          <p:cNvPicPr>
            <a:picLocks noChangeAspect="1"/>
          </p:cNvPicPr>
          <p:nvPr userDrawn="1"/>
        </p:nvPicPr>
        <p:blipFill>
          <a:blip r:embed="rId6"/>
          <a:stretch>
            <a:fillRect/>
          </a:stretch>
        </p:blipFill>
        <p:spPr>
          <a:xfrm>
            <a:off x="1002313" y="9433290"/>
            <a:ext cx="15553125" cy="370657"/>
          </a:xfrm>
          <a:prstGeom prst="rect">
            <a:avLst/>
          </a:prstGeom>
        </p:spPr>
      </p:pic>
    </p:spTree>
    <p:extLst>
      <p:ext uri="{BB962C8B-B14F-4D97-AF65-F5344CB8AC3E}">
        <p14:creationId xmlns:p14="http://schemas.microsoft.com/office/powerpoint/2010/main" val="42283758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ripuanã">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2490153653"/>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7" name="Objeto 6"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13" name="Espaço Reservado para Texto 3"/>
          <p:cNvSpPr>
            <a:spLocks noGrp="1"/>
          </p:cNvSpPr>
          <p:nvPr>
            <p:ph type="body" sz="quarter" idx="18"/>
          </p:nvPr>
        </p:nvSpPr>
        <p:spPr>
          <a:xfrm>
            <a:off x="1002313" y="8863962"/>
            <a:ext cx="15553125" cy="414667"/>
          </a:xfrm>
          <a:prstGeom prst="rect">
            <a:avLst/>
          </a:prstGeom>
        </p:spPr>
        <p:txBody>
          <a:bodyPr anchor="ctr"/>
          <a:lstStyle>
            <a:lvl1pPr marL="0" indent="0">
              <a:buNone/>
              <a:defRPr sz="1152">
                <a:latin typeface="Votorantim Sans" panose="020B0604020202020204" charset="0"/>
              </a:defRPr>
            </a:lvl1pPr>
          </a:lstStyle>
          <a:p>
            <a:pPr lvl="0"/>
            <a:r>
              <a:rPr lang="pt-BR"/>
              <a:t>Clique para editar o texto mestre</a:t>
            </a:r>
            <a:endParaRPr lang="en-US"/>
          </a:p>
        </p:txBody>
      </p:sp>
      <p:sp>
        <p:nvSpPr>
          <p:cNvPr id="14" name="Espaço Reservado para Texto 75"/>
          <p:cNvSpPr>
            <a:spLocks noGrp="1"/>
          </p:cNvSpPr>
          <p:nvPr>
            <p:ph type="body" sz="quarter" idx="14"/>
          </p:nvPr>
        </p:nvSpPr>
        <p:spPr>
          <a:xfrm>
            <a:off x="1002313" y="2389306"/>
            <a:ext cx="10368750" cy="2799000"/>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15" name="Espaço Reservado para Texto 75"/>
          <p:cNvSpPr>
            <a:spLocks noGrp="1"/>
          </p:cNvSpPr>
          <p:nvPr>
            <p:ph type="body" sz="quarter" idx="15"/>
          </p:nvPr>
        </p:nvSpPr>
        <p:spPr>
          <a:xfrm>
            <a:off x="1002313" y="1737142"/>
            <a:ext cx="7258125" cy="627788"/>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6" name="Espaço Reservado para Texto 75"/>
          <p:cNvSpPr>
            <a:spLocks noGrp="1"/>
          </p:cNvSpPr>
          <p:nvPr>
            <p:ph type="body" sz="quarter" idx="16"/>
          </p:nvPr>
        </p:nvSpPr>
        <p:spPr>
          <a:xfrm>
            <a:off x="1002313" y="5298320"/>
            <a:ext cx="7258125" cy="627788"/>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7" name="Espaço Reservado para Texto 75"/>
          <p:cNvSpPr>
            <a:spLocks noGrp="1"/>
          </p:cNvSpPr>
          <p:nvPr>
            <p:ph type="body" sz="quarter" idx="17"/>
          </p:nvPr>
        </p:nvSpPr>
        <p:spPr>
          <a:xfrm>
            <a:off x="1002313" y="5954507"/>
            <a:ext cx="15553125" cy="2799000"/>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18" name="Freeform 5"/>
          <p:cNvSpPr>
            <a:spLocks noChangeAspect="1"/>
          </p:cNvSpPr>
          <p:nvPr userDrawn="1"/>
        </p:nvSpPr>
        <p:spPr bwMode="auto">
          <a:xfrm rot="16200000" flipV="1">
            <a:off x="-138" y="139"/>
            <a:ext cx="1411678" cy="1411399"/>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pic>
        <p:nvPicPr>
          <p:cNvPr id="19" name="Imagem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12"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pic>
        <p:nvPicPr>
          <p:cNvPr id="348" name="Imagem 347">
            <a:extLst>
              <a:ext uri="{FF2B5EF4-FFF2-40B4-BE49-F238E27FC236}">
                <a16:creationId xmlns:a16="http://schemas.microsoft.com/office/drawing/2014/main" id="{5C84A142-F9A6-4482-9DF4-A4EB340F7EB8}"/>
              </a:ext>
            </a:extLst>
          </p:cNvPr>
          <p:cNvPicPr>
            <a:picLocks noChangeAspect="1"/>
          </p:cNvPicPr>
          <p:nvPr userDrawn="1"/>
        </p:nvPicPr>
        <p:blipFill>
          <a:blip r:embed="rId6"/>
          <a:stretch>
            <a:fillRect/>
          </a:stretch>
        </p:blipFill>
        <p:spPr>
          <a:xfrm>
            <a:off x="1002313" y="9433290"/>
            <a:ext cx="15553125" cy="370657"/>
          </a:xfrm>
          <a:prstGeom prst="rect">
            <a:avLst/>
          </a:prstGeom>
        </p:spPr>
      </p:pic>
    </p:spTree>
    <p:extLst>
      <p:ext uri="{BB962C8B-B14F-4D97-AF65-F5344CB8AC3E}">
        <p14:creationId xmlns:p14="http://schemas.microsoft.com/office/powerpoint/2010/main" val="22603701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3944171770"/>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7" name="Objeto 6" hidden="1"/>
                      <p:cNvPicPr/>
                      <p:nvPr/>
                    </p:nvPicPr>
                    <p:blipFill>
                      <a:blip r:embed="rId4"/>
                      <a:stretch>
                        <a:fillRect/>
                      </a:stretch>
                    </p:blipFill>
                    <p:spPr>
                      <a:xfrm>
                        <a:off x="2287" y="2287"/>
                        <a:ext cx="2287" cy="2286"/>
                      </a:xfrm>
                      <a:prstGeom prst="rect">
                        <a:avLst/>
                      </a:prstGeom>
                    </p:spPr>
                  </p:pic>
                </p:oleObj>
              </mc:Fallback>
            </mc:AlternateContent>
          </a:graphicData>
        </a:graphic>
      </p:graphicFrame>
      <p:pic>
        <p:nvPicPr>
          <p:cNvPr id="24" name="Imagen 1"/>
          <p:cNvPicPr>
            <a:picLocks noChangeAspect="1"/>
          </p:cNvPicPr>
          <p:nvPr userDrawn="1"/>
        </p:nvPicPr>
        <p:blipFill rotWithShape="1">
          <a:blip r:embed="rId5" cstate="print">
            <a:extLst>
              <a:ext uri="{28A0092B-C50C-407E-A947-70E740481C1C}">
                <a14:useLocalDpi xmlns:a14="http://schemas.microsoft.com/office/drawing/2010/main" val="0"/>
              </a:ext>
            </a:extLst>
          </a:blip>
          <a:srcRect t="12701" r="32736" b="30433"/>
          <a:stretch/>
        </p:blipFill>
        <p:spPr>
          <a:xfrm>
            <a:off x="-8641" y="-10579"/>
            <a:ext cx="17575031" cy="9895411"/>
          </a:xfrm>
          <a:prstGeom prst="rect">
            <a:avLst/>
          </a:prstGeom>
        </p:spPr>
      </p:pic>
      <p:sp>
        <p:nvSpPr>
          <p:cNvPr id="22" name="Retângulo 4">
            <a:extLst>
              <a:ext uri="{FF2B5EF4-FFF2-40B4-BE49-F238E27FC236}">
                <a16:creationId xmlns:a16="http://schemas.microsoft.com/office/drawing/2014/main" id="{A8456532-10B2-4E7D-9A80-E12EBA2DE7C3}"/>
              </a:ext>
            </a:extLst>
          </p:cNvPr>
          <p:cNvSpPr/>
          <p:nvPr userDrawn="1"/>
        </p:nvSpPr>
        <p:spPr>
          <a:xfrm>
            <a:off x="725389" y="-12959"/>
            <a:ext cx="8554219" cy="99001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solidFill>
                <a:prstClr val="white"/>
              </a:solidFill>
            </a:endParaRPr>
          </a:p>
        </p:txBody>
      </p:sp>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chemeClr val="bg1"/>
                </a:solidFill>
                <a:latin typeface="Verdana Regular" charset="0"/>
              </a:defRPr>
            </a:lvl1pPr>
          </a:lstStyle>
          <a:p>
            <a:pPr algn="ctr"/>
            <a:fld id="{B55780C9-1218-2442-B992-B1EF8E30C659}" type="slidenum">
              <a:rPr lang="en-US" smtClean="0"/>
              <a:pPr algn="ctr"/>
              <a:t>‹Nº›</a:t>
            </a:fld>
            <a:endParaRPr lang="en-US"/>
          </a:p>
        </p:txBody>
      </p:sp>
      <p:sp>
        <p:nvSpPr>
          <p:cNvPr id="12" name="Espaço Reservado para Texto 3"/>
          <p:cNvSpPr>
            <a:spLocks noGrp="1"/>
          </p:cNvSpPr>
          <p:nvPr>
            <p:ph type="body" sz="quarter" idx="13"/>
          </p:nvPr>
        </p:nvSpPr>
        <p:spPr>
          <a:xfrm>
            <a:off x="1779969" y="878467"/>
            <a:ext cx="7258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sp>
        <p:nvSpPr>
          <p:cNvPr id="14" name="Espaço Reservado para Texto 75"/>
          <p:cNvSpPr>
            <a:spLocks noGrp="1"/>
          </p:cNvSpPr>
          <p:nvPr>
            <p:ph type="body" sz="quarter" idx="14"/>
          </p:nvPr>
        </p:nvSpPr>
        <p:spPr>
          <a:xfrm>
            <a:off x="1779969" y="2185122"/>
            <a:ext cx="7258125" cy="7256667"/>
          </a:xfrm>
          <a:prstGeom prst="rect">
            <a:avLst/>
          </a:prstGeom>
        </p:spPr>
        <p:txBody>
          <a:bodyPr anchor="t"/>
          <a:lstStyle>
            <a:lvl1pPr>
              <a:defRPr lang="en-US" sz="2592" dirty="0">
                <a:solidFill>
                  <a:srgbClr val="FF5000"/>
                </a:solidFill>
                <a:latin typeface="Votorantim Sans" panose="020B0604020202020204" charset="0"/>
              </a:defRPr>
            </a:lvl1pPr>
          </a:lstStyle>
          <a:p>
            <a:pPr marL="0" lvl="0" indent="0">
              <a:lnSpc>
                <a:spcPct val="200000"/>
              </a:lnSpc>
              <a:buNone/>
            </a:pPr>
            <a:r>
              <a:rPr lang="pt-BR"/>
              <a:t>Clique para editar o texto mestre</a:t>
            </a:r>
            <a:endParaRPr lang="en-US"/>
          </a:p>
        </p:txBody>
      </p:sp>
      <p:pic>
        <p:nvPicPr>
          <p:cNvPr id="2" name="Imagem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5166651" y="336174"/>
            <a:ext cx="2073750" cy="779104"/>
          </a:xfrm>
          <a:prstGeom prst="rect">
            <a:avLst/>
          </a:prstGeom>
        </p:spPr>
      </p:pic>
      <p:pic>
        <p:nvPicPr>
          <p:cNvPr id="26" name="Imagen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58070" y="1692356"/>
            <a:ext cx="4471161" cy="8199889"/>
          </a:xfrm>
          <a:prstGeom prst="rect">
            <a:avLst/>
          </a:prstGeom>
        </p:spPr>
      </p:pic>
      <p:sp>
        <p:nvSpPr>
          <p:cNvPr id="13" name="Freeform 5"/>
          <p:cNvSpPr>
            <a:spLocks noChangeAspect="1"/>
          </p:cNvSpPr>
          <p:nvPr userDrawn="1"/>
        </p:nvSpPr>
        <p:spPr bwMode="auto">
          <a:xfrm rot="16200000" flipV="1">
            <a:off x="-12745" y="-12333"/>
            <a:ext cx="2074160" cy="2073750"/>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spTree>
    <p:extLst>
      <p:ext uri="{BB962C8B-B14F-4D97-AF65-F5344CB8AC3E}">
        <p14:creationId xmlns:p14="http://schemas.microsoft.com/office/powerpoint/2010/main" val="16858497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solidated performance">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3284676047"/>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2" name="Objeto 1"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18" name="Espaço Reservado para Texto 75"/>
          <p:cNvSpPr>
            <a:spLocks noGrp="1"/>
          </p:cNvSpPr>
          <p:nvPr>
            <p:ph type="body" sz="quarter" idx="14"/>
          </p:nvPr>
        </p:nvSpPr>
        <p:spPr>
          <a:xfrm>
            <a:off x="11371063" y="1944389"/>
            <a:ext cx="5184375" cy="3369167"/>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20" name="Espaço Reservado para Texto 75"/>
          <p:cNvSpPr>
            <a:spLocks noGrp="1"/>
          </p:cNvSpPr>
          <p:nvPr>
            <p:ph type="body" sz="quarter" idx="15"/>
          </p:nvPr>
        </p:nvSpPr>
        <p:spPr>
          <a:xfrm>
            <a:off x="1002313" y="1944389"/>
            <a:ext cx="7258125" cy="627788"/>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21" name="Espaço Reservado para Texto 75"/>
          <p:cNvSpPr>
            <a:spLocks noGrp="1"/>
          </p:cNvSpPr>
          <p:nvPr>
            <p:ph type="body" sz="quarter" idx="16"/>
          </p:nvPr>
        </p:nvSpPr>
        <p:spPr>
          <a:xfrm>
            <a:off x="1002313" y="5517759"/>
            <a:ext cx="7258125" cy="627788"/>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23" name="Espaço Reservado para Texto 75"/>
          <p:cNvSpPr>
            <a:spLocks noGrp="1"/>
          </p:cNvSpPr>
          <p:nvPr>
            <p:ph type="body" sz="quarter" idx="17"/>
          </p:nvPr>
        </p:nvSpPr>
        <p:spPr>
          <a:xfrm>
            <a:off x="11371063" y="5509581"/>
            <a:ext cx="5184375" cy="3369167"/>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4" name="Espaço Reservado para Texto 3"/>
          <p:cNvSpPr>
            <a:spLocks noGrp="1"/>
          </p:cNvSpPr>
          <p:nvPr>
            <p:ph type="body" sz="quarter" idx="18"/>
          </p:nvPr>
        </p:nvSpPr>
        <p:spPr>
          <a:xfrm>
            <a:off x="1002313" y="8961489"/>
            <a:ext cx="15553125" cy="259167"/>
          </a:xfrm>
          <a:prstGeom prst="rect">
            <a:avLst/>
          </a:prstGeom>
        </p:spPr>
        <p:txBody>
          <a:bodyPr anchor="ctr"/>
          <a:lstStyle>
            <a:lvl1pPr marL="0" indent="0">
              <a:buNone/>
              <a:defRPr sz="1152">
                <a:latin typeface="Votorantim Sans" panose="020B0604020202020204" charset="0"/>
              </a:defRPr>
            </a:lvl1pPr>
          </a:lstStyle>
          <a:p>
            <a:pPr lvl="0"/>
            <a:r>
              <a:rPr lang="pt-BR"/>
              <a:t>Clique para editar o texto mestre</a:t>
            </a:r>
            <a:endParaRPr lang="en-US"/>
          </a:p>
        </p:txBody>
      </p:sp>
      <p:pic>
        <p:nvPicPr>
          <p:cNvPr id="19" name="Imagem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13"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sp>
        <p:nvSpPr>
          <p:cNvPr id="348" name="Freeform 5">
            <a:extLst>
              <a:ext uri="{FF2B5EF4-FFF2-40B4-BE49-F238E27FC236}">
                <a16:creationId xmlns:a16="http://schemas.microsoft.com/office/drawing/2014/main" id="{760882D4-1F6C-4CFC-8439-E92EF92838BF}"/>
              </a:ext>
            </a:extLst>
          </p:cNvPr>
          <p:cNvSpPr>
            <a:spLocks noChangeAspect="1"/>
          </p:cNvSpPr>
          <p:nvPr userDrawn="1"/>
        </p:nvSpPr>
        <p:spPr bwMode="auto">
          <a:xfrm rot="16200000" flipV="1">
            <a:off x="-138" y="139"/>
            <a:ext cx="1411678" cy="1411399"/>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pic>
        <p:nvPicPr>
          <p:cNvPr id="349" name="Imagem 348">
            <a:extLst>
              <a:ext uri="{FF2B5EF4-FFF2-40B4-BE49-F238E27FC236}">
                <a16:creationId xmlns:a16="http://schemas.microsoft.com/office/drawing/2014/main" id="{3E4B8B47-4E67-45B6-96AE-D495BFA177CE}"/>
              </a:ext>
            </a:extLst>
          </p:cNvPr>
          <p:cNvPicPr>
            <a:picLocks noChangeAspect="1"/>
          </p:cNvPicPr>
          <p:nvPr userDrawn="1"/>
        </p:nvPicPr>
        <p:blipFill>
          <a:blip r:embed="rId6"/>
          <a:stretch>
            <a:fillRect/>
          </a:stretch>
        </p:blipFill>
        <p:spPr>
          <a:xfrm>
            <a:off x="1002313" y="9433290"/>
            <a:ext cx="15553125" cy="370657"/>
          </a:xfrm>
          <a:prstGeom prst="rect">
            <a:avLst/>
          </a:prstGeom>
        </p:spPr>
      </p:pic>
    </p:spTree>
    <p:extLst>
      <p:ext uri="{BB962C8B-B14F-4D97-AF65-F5344CB8AC3E}">
        <p14:creationId xmlns:p14="http://schemas.microsoft.com/office/powerpoint/2010/main" val="4105170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ining Segmen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1313249949"/>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2" name="Objeto 1"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18" name="Espaço Reservado para Texto 75"/>
          <p:cNvSpPr>
            <a:spLocks noGrp="1"/>
          </p:cNvSpPr>
          <p:nvPr>
            <p:ph type="body" sz="quarter" idx="14"/>
          </p:nvPr>
        </p:nvSpPr>
        <p:spPr>
          <a:xfrm>
            <a:off x="1002312" y="5886474"/>
            <a:ext cx="4665938" cy="3369167"/>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20" name="Espaço Reservado para Texto 75"/>
          <p:cNvSpPr>
            <a:spLocks noGrp="1"/>
          </p:cNvSpPr>
          <p:nvPr>
            <p:ph type="body" sz="quarter" idx="15"/>
          </p:nvPr>
        </p:nvSpPr>
        <p:spPr>
          <a:xfrm>
            <a:off x="1002312" y="1950488"/>
            <a:ext cx="4665938" cy="777500"/>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4" name="Espaço Reservado para Texto 75"/>
          <p:cNvSpPr>
            <a:spLocks noGrp="1"/>
          </p:cNvSpPr>
          <p:nvPr>
            <p:ph type="body" sz="quarter" idx="16"/>
          </p:nvPr>
        </p:nvSpPr>
        <p:spPr>
          <a:xfrm>
            <a:off x="6445906" y="5886474"/>
            <a:ext cx="4665938" cy="3369167"/>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15" name="Espaço Reservado para Texto 75"/>
          <p:cNvSpPr>
            <a:spLocks noGrp="1"/>
          </p:cNvSpPr>
          <p:nvPr>
            <p:ph type="body" sz="quarter" idx="17"/>
          </p:nvPr>
        </p:nvSpPr>
        <p:spPr>
          <a:xfrm>
            <a:off x="6445906" y="1950488"/>
            <a:ext cx="4665938" cy="777500"/>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6" name="Espaço Reservado para Texto 75"/>
          <p:cNvSpPr>
            <a:spLocks noGrp="1"/>
          </p:cNvSpPr>
          <p:nvPr>
            <p:ph type="body" sz="quarter" idx="18"/>
          </p:nvPr>
        </p:nvSpPr>
        <p:spPr>
          <a:xfrm>
            <a:off x="11889500" y="5886474"/>
            <a:ext cx="4665938" cy="3369167"/>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17" name="Espaço Reservado para Texto 75"/>
          <p:cNvSpPr>
            <a:spLocks noGrp="1"/>
          </p:cNvSpPr>
          <p:nvPr>
            <p:ph type="body" sz="quarter" idx="19"/>
          </p:nvPr>
        </p:nvSpPr>
        <p:spPr>
          <a:xfrm>
            <a:off x="11889500" y="1950488"/>
            <a:ext cx="4665938" cy="777500"/>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9" name="Freeform 5"/>
          <p:cNvSpPr>
            <a:spLocks noChangeAspect="1"/>
          </p:cNvSpPr>
          <p:nvPr userDrawn="1"/>
        </p:nvSpPr>
        <p:spPr bwMode="auto">
          <a:xfrm rot="16200000" flipV="1">
            <a:off x="-145" y="147"/>
            <a:ext cx="1478850" cy="1478558"/>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pic>
        <p:nvPicPr>
          <p:cNvPr id="22" name="Imagem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13"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pic>
        <p:nvPicPr>
          <p:cNvPr id="349" name="Imagem 348">
            <a:extLst>
              <a:ext uri="{FF2B5EF4-FFF2-40B4-BE49-F238E27FC236}">
                <a16:creationId xmlns:a16="http://schemas.microsoft.com/office/drawing/2014/main" id="{2F44FA11-3809-45CC-9703-9073404E196B}"/>
              </a:ext>
            </a:extLst>
          </p:cNvPr>
          <p:cNvPicPr>
            <a:picLocks noChangeAspect="1"/>
          </p:cNvPicPr>
          <p:nvPr userDrawn="1"/>
        </p:nvPicPr>
        <p:blipFill>
          <a:blip r:embed="rId6"/>
          <a:stretch>
            <a:fillRect/>
          </a:stretch>
        </p:blipFill>
        <p:spPr>
          <a:xfrm>
            <a:off x="1002313" y="9433290"/>
            <a:ext cx="15553125" cy="370657"/>
          </a:xfrm>
          <a:prstGeom prst="rect">
            <a:avLst/>
          </a:prstGeom>
        </p:spPr>
      </p:pic>
    </p:spTree>
    <p:extLst>
      <p:ext uri="{BB962C8B-B14F-4D97-AF65-F5344CB8AC3E}">
        <p14:creationId xmlns:p14="http://schemas.microsoft.com/office/powerpoint/2010/main" val="23851949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23F00A4-04E7-852A-10B8-8E3246E11014}"/>
              </a:ext>
            </a:extLst>
          </p:cNvPr>
          <p:cNvSpPr>
            <a:spLocks noGrp="1"/>
          </p:cNvSpPr>
          <p:nvPr>
            <p:ph type="dt" sz="half" idx="10"/>
          </p:nvPr>
        </p:nvSpPr>
        <p:spPr/>
        <p:txBody>
          <a:bodyPr/>
          <a:lstStyle>
            <a:lvl1pPr>
              <a:defRPr/>
            </a:lvl1pPr>
          </a:lstStyle>
          <a:p>
            <a:pPr>
              <a:defRPr/>
            </a:pPr>
            <a:fld id="{FDC4B107-A51E-43E8-B61F-71154DA4415C}" type="datetimeFigureOut">
              <a:rPr lang="en-US"/>
              <a:pPr>
                <a:defRPr/>
              </a:pPr>
              <a:t>9/9/2024</a:t>
            </a:fld>
            <a:endParaRPr lang="en-US"/>
          </a:p>
        </p:txBody>
      </p:sp>
      <p:sp>
        <p:nvSpPr>
          <p:cNvPr id="5" name="Footer Placeholder 4">
            <a:extLst>
              <a:ext uri="{FF2B5EF4-FFF2-40B4-BE49-F238E27FC236}">
                <a16:creationId xmlns:a16="http://schemas.microsoft.com/office/drawing/2014/main" id="{8A33A142-FEFB-39D0-F4C4-DBE9D91E567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F6B0B4C-3460-D810-9BCF-A4ED1B20A9D6}"/>
              </a:ext>
            </a:extLst>
          </p:cNvPr>
          <p:cNvSpPr>
            <a:spLocks noGrp="1"/>
          </p:cNvSpPr>
          <p:nvPr>
            <p:ph type="sldNum" sz="quarter" idx="12"/>
          </p:nvPr>
        </p:nvSpPr>
        <p:spPr/>
        <p:txBody>
          <a:bodyPr/>
          <a:lstStyle>
            <a:lvl1pPr>
              <a:defRPr/>
            </a:lvl1pPr>
          </a:lstStyle>
          <a:p>
            <a:fld id="{EA1B82E2-F031-4DD4-900D-4B1756C5FF7C}" type="slidenum">
              <a:rPr lang="en-US" altLang="en-US"/>
              <a:pPr/>
              <a:t>‹Nº›</a:t>
            </a:fld>
            <a:endParaRPr lang="en-US" altLang="en-US"/>
          </a:p>
        </p:txBody>
      </p:sp>
    </p:spTree>
    <p:extLst>
      <p:ext uri="{BB962C8B-B14F-4D97-AF65-F5344CB8AC3E}">
        <p14:creationId xmlns:p14="http://schemas.microsoft.com/office/powerpoint/2010/main" val="1831758424"/>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melting Segment">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2996228697"/>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2" name="Objeto 1"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18" name="Espaço Reservado para Texto 75"/>
          <p:cNvSpPr>
            <a:spLocks noGrp="1"/>
          </p:cNvSpPr>
          <p:nvPr>
            <p:ph type="body" sz="quarter" idx="14"/>
          </p:nvPr>
        </p:nvSpPr>
        <p:spPr>
          <a:xfrm>
            <a:off x="1002312" y="5886474"/>
            <a:ext cx="4665938" cy="3369167"/>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20" name="Espaço Reservado para Texto 75"/>
          <p:cNvSpPr>
            <a:spLocks noGrp="1"/>
          </p:cNvSpPr>
          <p:nvPr>
            <p:ph type="body" sz="quarter" idx="15"/>
          </p:nvPr>
        </p:nvSpPr>
        <p:spPr>
          <a:xfrm>
            <a:off x="1002312" y="1950488"/>
            <a:ext cx="4665938" cy="777500"/>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4" name="Espaço Reservado para Texto 75"/>
          <p:cNvSpPr>
            <a:spLocks noGrp="1"/>
          </p:cNvSpPr>
          <p:nvPr>
            <p:ph type="body" sz="quarter" idx="16"/>
          </p:nvPr>
        </p:nvSpPr>
        <p:spPr>
          <a:xfrm>
            <a:off x="6445906" y="5886474"/>
            <a:ext cx="4665938" cy="3369167"/>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15" name="Espaço Reservado para Texto 75"/>
          <p:cNvSpPr>
            <a:spLocks noGrp="1"/>
          </p:cNvSpPr>
          <p:nvPr>
            <p:ph type="body" sz="quarter" idx="17"/>
          </p:nvPr>
        </p:nvSpPr>
        <p:spPr>
          <a:xfrm>
            <a:off x="6445906" y="1950488"/>
            <a:ext cx="4665938" cy="777500"/>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6" name="Espaço Reservado para Texto 75"/>
          <p:cNvSpPr>
            <a:spLocks noGrp="1"/>
          </p:cNvSpPr>
          <p:nvPr>
            <p:ph type="body" sz="quarter" idx="18"/>
          </p:nvPr>
        </p:nvSpPr>
        <p:spPr>
          <a:xfrm>
            <a:off x="11889500" y="5886474"/>
            <a:ext cx="4665938" cy="3369167"/>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17" name="Espaço Reservado para Texto 75"/>
          <p:cNvSpPr>
            <a:spLocks noGrp="1"/>
          </p:cNvSpPr>
          <p:nvPr>
            <p:ph type="body" sz="quarter" idx="19"/>
          </p:nvPr>
        </p:nvSpPr>
        <p:spPr>
          <a:xfrm>
            <a:off x="11889500" y="1950488"/>
            <a:ext cx="4665938" cy="777500"/>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pic>
        <p:nvPicPr>
          <p:cNvPr id="23" name="Imagem 2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13"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sp>
        <p:nvSpPr>
          <p:cNvPr id="349" name="Freeform 5">
            <a:extLst>
              <a:ext uri="{FF2B5EF4-FFF2-40B4-BE49-F238E27FC236}">
                <a16:creationId xmlns:a16="http://schemas.microsoft.com/office/drawing/2014/main" id="{6386334E-6BB8-4596-B7CE-8493555B751E}"/>
              </a:ext>
            </a:extLst>
          </p:cNvPr>
          <p:cNvSpPr>
            <a:spLocks noChangeAspect="1"/>
          </p:cNvSpPr>
          <p:nvPr userDrawn="1"/>
        </p:nvSpPr>
        <p:spPr bwMode="auto">
          <a:xfrm rot="16200000" flipV="1">
            <a:off x="-145" y="147"/>
            <a:ext cx="1478850" cy="1478558"/>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pic>
        <p:nvPicPr>
          <p:cNvPr id="350" name="Imagem 349">
            <a:extLst>
              <a:ext uri="{FF2B5EF4-FFF2-40B4-BE49-F238E27FC236}">
                <a16:creationId xmlns:a16="http://schemas.microsoft.com/office/drawing/2014/main" id="{A0F0B6FE-A2BE-404C-9771-C89238361799}"/>
              </a:ext>
            </a:extLst>
          </p:cNvPr>
          <p:cNvPicPr>
            <a:picLocks noChangeAspect="1"/>
          </p:cNvPicPr>
          <p:nvPr userDrawn="1"/>
        </p:nvPicPr>
        <p:blipFill>
          <a:blip r:embed="rId6"/>
          <a:stretch>
            <a:fillRect/>
          </a:stretch>
        </p:blipFill>
        <p:spPr>
          <a:xfrm>
            <a:off x="1002313" y="9433290"/>
            <a:ext cx="15553125" cy="370657"/>
          </a:xfrm>
          <a:prstGeom prst="rect">
            <a:avLst/>
          </a:prstGeom>
        </p:spPr>
      </p:pic>
    </p:spTree>
    <p:extLst>
      <p:ext uri="{BB962C8B-B14F-4D97-AF65-F5344CB8AC3E}">
        <p14:creationId xmlns:p14="http://schemas.microsoft.com/office/powerpoint/2010/main" val="2740215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vestment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49832531"/>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7" name="Objeto 6"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13" name="Espaço Reservado para Texto 3"/>
          <p:cNvSpPr>
            <a:spLocks noGrp="1"/>
          </p:cNvSpPr>
          <p:nvPr>
            <p:ph type="body" sz="quarter" idx="18"/>
          </p:nvPr>
        </p:nvSpPr>
        <p:spPr>
          <a:xfrm>
            <a:off x="1002313" y="8863962"/>
            <a:ext cx="15553125" cy="414667"/>
          </a:xfrm>
          <a:prstGeom prst="rect">
            <a:avLst/>
          </a:prstGeom>
        </p:spPr>
        <p:txBody>
          <a:bodyPr anchor="ctr"/>
          <a:lstStyle>
            <a:lvl1pPr marL="0" indent="0">
              <a:buNone/>
              <a:defRPr sz="1152">
                <a:latin typeface="Votorantim Sans" panose="020B0604020202020204" charset="0"/>
              </a:defRPr>
            </a:lvl1pPr>
          </a:lstStyle>
          <a:p>
            <a:pPr lvl="0"/>
            <a:r>
              <a:rPr lang="pt-BR"/>
              <a:t>Clique para editar o texto mestre</a:t>
            </a:r>
            <a:endParaRPr lang="en-US"/>
          </a:p>
        </p:txBody>
      </p:sp>
      <p:sp>
        <p:nvSpPr>
          <p:cNvPr id="14" name="Espaço Reservado para Texto 75"/>
          <p:cNvSpPr>
            <a:spLocks noGrp="1"/>
          </p:cNvSpPr>
          <p:nvPr>
            <p:ph type="body" sz="quarter" idx="14"/>
          </p:nvPr>
        </p:nvSpPr>
        <p:spPr>
          <a:xfrm>
            <a:off x="9815750" y="2372550"/>
            <a:ext cx="6739688" cy="3006333"/>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sp>
        <p:nvSpPr>
          <p:cNvPr id="15" name="Espaço Reservado para Texto 75"/>
          <p:cNvSpPr>
            <a:spLocks noGrp="1"/>
          </p:cNvSpPr>
          <p:nvPr>
            <p:ph type="body" sz="quarter" idx="15"/>
          </p:nvPr>
        </p:nvSpPr>
        <p:spPr>
          <a:xfrm>
            <a:off x="1002313" y="1871242"/>
            <a:ext cx="7258125" cy="627788"/>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6" name="Espaço Reservado para Texto 75"/>
          <p:cNvSpPr>
            <a:spLocks noGrp="1"/>
          </p:cNvSpPr>
          <p:nvPr>
            <p:ph type="body" sz="quarter" idx="16"/>
          </p:nvPr>
        </p:nvSpPr>
        <p:spPr>
          <a:xfrm>
            <a:off x="1002313" y="5383656"/>
            <a:ext cx="7258125" cy="627788"/>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7" name="Espaço Reservado para Texto 75"/>
          <p:cNvSpPr>
            <a:spLocks noGrp="1"/>
          </p:cNvSpPr>
          <p:nvPr>
            <p:ph type="body" sz="quarter" idx="17"/>
          </p:nvPr>
        </p:nvSpPr>
        <p:spPr>
          <a:xfrm>
            <a:off x="9815750" y="5875273"/>
            <a:ext cx="6739688" cy="3006333"/>
          </a:xfrm>
          <a:prstGeom prst="rect">
            <a:avLst/>
          </a:prstGeom>
        </p:spPr>
        <p:txBody>
          <a:bodyPr anchor="ctr"/>
          <a:lstStyle>
            <a:lvl1pPr marL="0" indent="0">
              <a:buNone/>
              <a:defRPr sz="1584">
                <a:latin typeface="Votorantim Sans" panose="020B0604020202020204" charset="0"/>
              </a:defRPr>
            </a:lvl1pPr>
          </a:lstStyle>
          <a:p>
            <a:pPr lvl="0"/>
            <a:r>
              <a:rPr lang="pt-BR"/>
              <a:t>Clique para editar o texto mestre</a:t>
            </a:r>
            <a:endParaRPr lang="en-US"/>
          </a:p>
        </p:txBody>
      </p:sp>
      <p:pic>
        <p:nvPicPr>
          <p:cNvPr id="20" name="Imagem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12"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sp>
        <p:nvSpPr>
          <p:cNvPr id="348" name="Freeform 5">
            <a:extLst>
              <a:ext uri="{FF2B5EF4-FFF2-40B4-BE49-F238E27FC236}">
                <a16:creationId xmlns:a16="http://schemas.microsoft.com/office/drawing/2014/main" id="{FB0F648E-7978-4029-B153-B00B6BFD6423}"/>
              </a:ext>
            </a:extLst>
          </p:cNvPr>
          <p:cNvSpPr>
            <a:spLocks noChangeAspect="1"/>
          </p:cNvSpPr>
          <p:nvPr userDrawn="1"/>
        </p:nvSpPr>
        <p:spPr bwMode="auto">
          <a:xfrm rot="16200000" flipV="1">
            <a:off x="-145" y="147"/>
            <a:ext cx="1478850" cy="1478558"/>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pic>
        <p:nvPicPr>
          <p:cNvPr id="349" name="Imagem 348">
            <a:extLst>
              <a:ext uri="{FF2B5EF4-FFF2-40B4-BE49-F238E27FC236}">
                <a16:creationId xmlns:a16="http://schemas.microsoft.com/office/drawing/2014/main" id="{590E3723-5820-4C17-B55B-F2F4108CDEDB}"/>
              </a:ext>
            </a:extLst>
          </p:cNvPr>
          <p:cNvPicPr>
            <a:picLocks noChangeAspect="1"/>
          </p:cNvPicPr>
          <p:nvPr userDrawn="1"/>
        </p:nvPicPr>
        <p:blipFill>
          <a:blip r:embed="rId6"/>
          <a:stretch>
            <a:fillRect/>
          </a:stretch>
        </p:blipFill>
        <p:spPr>
          <a:xfrm>
            <a:off x="1002313" y="9433290"/>
            <a:ext cx="15553125" cy="370657"/>
          </a:xfrm>
          <a:prstGeom prst="rect">
            <a:avLst/>
          </a:prstGeom>
        </p:spPr>
      </p:pic>
    </p:spTree>
    <p:extLst>
      <p:ext uri="{BB962C8B-B14F-4D97-AF65-F5344CB8AC3E}">
        <p14:creationId xmlns:p14="http://schemas.microsoft.com/office/powerpoint/2010/main" val="34877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sh Flow">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3954496904"/>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7" name="Objeto 6"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13" name="Espaço Reservado para Texto 3"/>
          <p:cNvSpPr>
            <a:spLocks noGrp="1"/>
          </p:cNvSpPr>
          <p:nvPr>
            <p:ph type="body" sz="quarter" idx="18"/>
          </p:nvPr>
        </p:nvSpPr>
        <p:spPr>
          <a:xfrm>
            <a:off x="1002313" y="8900535"/>
            <a:ext cx="15553125" cy="414667"/>
          </a:xfrm>
          <a:prstGeom prst="rect">
            <a:avLst/>
          </a:prstGeom>
        </p:spPr>
        <p:txBody>
          <a:bodyPr anchor="ctr"/>
          <a:lstStyle>
            <a:lvl1pPr marL="0" indent="0">
              <a:buNone/>
              <a:defRPr sz="1152">
                <a:latin typeface="Votorantim Sans" panose="020B0604020202020204" charset="0"/>
              </a:defRPr>
            </a:lvl1pPr>
          </a:lstStyle>
          <a:p>
            <a:pPr lvl="0"/>
            <a:r>
              <a:rPr lang="pt-BR"/>
              <a:t>Clique para editar o texto mestre</a:t>
            </a:r>
            <a:endParaRPr lang="en-US"/>
          </a:p>
        </p:txBody>
      </p:sp>
      <p:pic>
        <p:nvPicPr>
          <p:cNvPr id="16" name="Imagem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12"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sp>
        <p:nvSpPr>
          <p:cNvPr id="344" name="Freeform 5">
            <a:extLst>
              <a:ext uri="{FF2B5EF4-FFF2-40B4-BE49-F238E27FC236}">
                <a16:creationId xmlns:a16="http://schemas.microsoft.com/office/drawing/2014/main" id="{856D64AA-F55A-4CA0-994A-B141C9792D12}"/>
              </a:ext>
            </a:extLst>
          </p:cNvPr>
          <p:cNvSpPr>
            <a:spLocks noChangeAspect="1"/>
          </p:cNvSpPr>
          <p:nvPr userDrawn="1"/>
        </p:nvSpPr>
        <p:spPr bwMode="auto">
          <a:xfrm rot="16200000" flipV="1">
            <a:off x="-145" y="147"/>
            <a:ext cx="1478850" cy="1478558"/>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pic>
        <p:nvPicPr>
          <p:cNvPr id="345" name="Imagem 344">
            <a:extLst>
              <a:ext uri="{FF2B5EF4-FFF2-40B4-BE49-F238E27FC236}">
                <a16:creationId xmlns:a16="http://schemas.microsoft.com/office/drawing/2014/main" id="{5EC13332-00E5-428A-8E95-361F1A193102}"/>
              </a:ext>
            </a:extLst>
          </p:cNvPr>
          <p:cNvPicPr>
            <a:picLocks noChangeAspect="1"/>
          </p:cNvPicPr>
          <p:nvPr userDrawn="1"/>
        </p:nvPicPr>
        <p:blipFill>
          <a:blip r:embed="rId6"/>
          <a:stretch>
            <a:fillRect/>
          </a:stretch>
        </p:blipFill>
        <p:spPr>
          <a:xfrm>
            <a:off x="1002313" y="9433290"/>
            <a:ext cx="15553125" cy="370657"/>
          </a:xfrm>
          <a:prstGeom prst="rect">
            <a:avLst/>
          </a:prstGeom>
        </p:spPr>
      </p:pic>
    </p:spTree>
    <p:extLst>
      <p:ext uri="{BB962C8B-B14F-4D97-AF65-F5344CB8AC3E}">
        <p14:creationId xmlns:p14="http://schemas.microsoft.com/office/powerpoint/2010/main" val="31168981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arket Fundamental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
            </p:custDataLst>
            <p:extLst>
              <p:ext uri="{D42A27DB-BD31-4B8C-83A1-F6EECF244321}">
                <p14:modId xmlns:p14="http://schemas.microsoft.com/office/powerpoint/2010/main" val="1850064053"/>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7" name="Objeto 6"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13" name="Espaço Reservado para Texto 3"/>
          <p:cNvSpPr>
            <a:spLocks noGrp="1"/>
          </p:cNvSpPr>
          <p:nvPr>
            <p:ph type="body" sz="quarter" idx="18"/>
          </p:nvPr>
        </p:nvSpPr>
        <p:spPr>
          <a:xfrm>
            <a:off x="1002313" y="8863962"/>
            <a:ext cx="15553125" cy="414667"/>
          </a:xfrm>
          <a:prstGeom prst="rect">
            <a:avLst/>
          </a:prstGeom>
        </p:spPr>
        <p:txBody>
          <a:bodyPr anchor="ctr"/>
          <a:lstStyle>
            <a:lvl1pPr marL="0" indent="0">
              <a:buNone/>
              <a:defRPr sz="1152">
                <a:latin typeface="Votorantim Sans" panose="020B0604020202020204" charset="0"/>
              </a:defRPr>
            </a:lvl1pPr>
          </a:lstStyle>
          <a:p>
            <a:pPr lvl="0"/>
            <a:r>
              <a:rPr lang="pt-BR"/>
              <a:t>Clique para editar o texto mestre</a:t>
            </a:r>
            <a:endParaRPr lang="en-US"/>
          </a:p>
        </p:txBody>
      </p:sp>
      <p:sp>
        <p:nvSpPr>
          <p:cNvPr id="16" name="Espaço Reservado para Texto 75"/>
          <p:cNvSpPr>
            <a:spLocks noGrp="1"/>
          </p:cNvSpPr>
          <p:nvPr>
            <p:ph type="body" sz="quarter" idx="15"/>
          </p:nvPr>
        </p:nvSpPr>
        <p:spPr>
          <a:xfrm>
            <a:off x="1002313" y="1871242"/>
            <a:ext cx="7258125" cy="627788"/>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7" name="Espaço Reservado para Texto 75"/>
          <p:cNvSpPr>
            <a:spLocks noGrp="1"/>
          </p:cNvSpPr>
          <p:nvPr>
            <p:ph type="body" sz="quarter" idx="19"/>
          </p:nvPr>
        </p:nvSpPr>
        <p:spPr>
          <a:xfrm>
            <a:off x="1002313" y="5673204"/>
            <a:ext cx="7258125" cy="627788"/>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sp>
        <p:nvSpPr>
          <p:cNvPr id="18" name="Espaço Reservado para Texto 75"/>
          <p:cNvSpPr>
            <a:spLocks noGrp="1"/>
          </p:cNvSpPr>
          <p:nvPr>
            <p:ph type="body" sz="quarter" idx="20"/>
          </p:nvPr>
        </p:nvSpPr>
        <p:spPr>
          <a:xfrm>
            <a:off x="9297313" y="5673204"/>
            <a:ext cx="7258125" cy="627788"/>
          </a:xfrm>
          <a:prstGeom prst="rect">
            <a:avLst/>
          </a:prstGeom>
        </p:spPr>
        <p:txBody>
          <a:bodyPr anchor="t"/>
          <a:lstStyle>
            <a:lvl1pPr marL="0" indent="0">
              <a:buNone/>
              <a:defRPr sz="2592">
                <a:latin typeface="Votorantim Sans Black" panose="020B0604020202020204" charset="0"/>
              </a:defRPr>
            </a:lvl1pPr>
          </a:lstStyle>
          <a:p>
            <a:pPr lvl="0"/>
            <a:r>
              <a:rPr lang="pt-BR"/>
              <a:t>Clique para editar o texto mestre</a:t>
            </a:r>
            <a:endParaRPr lang="en-US"/>
          </a:p>
        </p:txBody>
      </p:sp>
      <p:pic>
        <p:nvPicPr>
          <p:cNvPr id="19" name="Imagem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12"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sp>
        <p:nvSpPr>
          <p:cNvPr id="347" name="Freeform 5">
            <a:extLst>
              <a:ext uri="{FF2B5EF4-FFF2-40B4-BE49-F238E27FC236}">
                <a16:creationId xmlns:a16="http://schemas.microsoft.com/office/drawing/2014/main" id="{2D131ECC-E628-471C-A17A-6F7F32D31C37}"/>
              </a:ext>
            </a:extLst>
          </p:cNvPr>
          <p:cNvSpPr>
            <a:spLocks noChangeAspect="1"/>
          </p:cNvSpPr>
          <p:nvPr userDrawn="1"/>
        </p:nvSpPr>
        <p:spPr bwMode="auto">
          <a:xfrm rot="16200000" flipV="1">
            <a:off x="-145" y="147"/>
            <a:ext cx="1478850" cy="1478558"/>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pic>
        <p:nvPicPr>
          <p:cNvPr id="348" name="Imagem 347">
            <a:extLst>
              <a:ext uri="{FF2B5EF4-FFF2-40B4-BE49-F238E27FC236}">
                <a16:creationId xmlns:a16="http://schemas.microsoft.com/office/drawing/2014/main" id="{643B28FB-400B-48B5-9F51-7F2A1CE886F5}"/>
              </a:ext>
            </a:extLst>
          </p:cNvPr>
          <p:cNvPicPr>
            <a:picLocks noChangeAspect="1"/>
          </p:cNvPicPr>
          <p:nvPr userDrawn="1"/>
        </p:nvPicPr>
        <p:blipFill>
          <a:blip r:embed="rId6"/>
          <a:stretch>
            <a:fillRect/>
          </a:stretch>
        </p:blipFill>
        <p:spPr>
          <a:xfrm>
            <a:off x="1002313" y="9433290"/>
            <a:ext cx="15553125" cy="370657"/>
          </a:xfrm>
          <a:prstGeom prst="rect">
            <a:avLst/>
          </a:prstGeom>
        </p:spPr>
      </p:pic>
    </p:spTree>
    <p:extLst>
      <p:ext uri="{BB962C8B-B14F-4D97-AF65-F5344CB8AC3E}">
        <p14:creationId xmlns:p14="http://schemas.microsoft.com/office/powerpoint/2010/main" val="10655893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nal Remark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3039763170"/>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2" name="Objeto 1" hidden="1"/>
                      <p:cNvPicPr/>
                      <p:nvPr/>
                    </p:nvPicPr>
                    <p:blipFill>
                      <a:blip r:embed="rId4"/>
                      <a:stretch>
                        <a:fillRect/>
                      </a:stretch>
                    </p:blipFill>
                    <p:spPr>
                      <a:xfrm>
                        <a:off x="2287" y="2287"/>
                        <a:ext cx="2287" cy="2286"/>
                      </a:xfrm>
                      <a:prstGeom prst="rect">
                        <a:avLst/>
                      </a:prstGeom>
                    </p:spPr>
                  </p:pic>
                </p:oleObj>
              </mc:Fallback>
            </mc:AlternateContent>
          </a:graphicData>
        </a:graphic>
      </p:graphicFrame>
      <p:sp>
        <p:nvSpPr>
          <p:cNvPr id="11" name="Slide Number Placeholder 5"/>
          <p:cNvSpPr>
            <a:spLocks noGrp="1"/>
          </p:cNvSpPr>
          <p:nvPr>
            <p:ph type="sldNum" sz="quarter" idx="12"/>
          </p:nvPr>
        </p:nvSpPr>
        <p:spPr>
          <a:xfrm>
            <a:off x="17039312" y="9355917"/>
            <a:ext cx="518438" cy="518333"/>
          </a:xfrm>
          <a:prstGeom prst="rect">
            <a:avLst/>
          </a:prstGeom>
        </p:spPr>
        <p:txBody>
          <a:bodyPr lIns="0" tIns="0" rIns="0" bIns="0" anchor="ctr" anchorCtr="0"/>
          <a:lstStyle>
            <a:lvl1pPr>
              <a:defRPr lang="en-US" sz="1440" baseline="0" smtClean="0">
                <a:solidFill>
                  <a:srgbClr val="3C3C3C"/>
                </a:solidFill>
                <a:latin typeface="Verdana Regular" charset="0"/>
              </a:defRPr>
            </a:lvl1pPr>
          </a:lstStyle>
          <a:p>
            <a:pPr algn="ctr"/>
            <a:fld id="{B55780C9-1218-2442-B992-B1EF8E30C659}" type="slidenum">
              <a:rPr lang="en-US" smtClean="0"/>
              <a:pPr algn="ctr"/>
              <a:t>‹Nº›</a:t>
            </a:fld>
            <a:endParaRPr lang="en-US"/>
          </a:p>
        </p:txBody>
      </p:sp>
      <p:sp>
        <p:nvSpPr>
          <p:cNvPr id="80" name="Espaço Reservado para Texto 75"/>
          <p:cNvSpPr>
            <a:spLocks noGrp="1"/>
          </p:cNvSpPr>
          <p:nvPr>
            <p:ph type="body" sz="quarter" idx="14"/>
          </p:nvPr>
        </p:nvSpPr>
        <p:spPr>
          <a:xfrm>
            <a:off x="1002313" y="1906603"/>
            <a:ext cx="15553125" cy="5701667"/>
          </a:xfrm>
          <a:prstGeom prst="rect">
            <a:avLst/>
          </a:prstGeom>
        </p:spPr>
        <p:txBody>
          <a:bodyPr anchor="ctr"/>
          <a:lstStyle>
            <a:lvl1pPr marL="0" indent="0">
              <a:buNone/>
              <a:defRPr sz="2592">
                <a:latin typeface="Votorantim Sans" panose="020B0604020202020204" charset="0"/>
              </a:defRPr>
            </a:lvl1pPr>
          </a:lstStyle>
          <a:p>
            <a:pPr lvl="0"/>
            <a:r>
              <a:rPr lang="pt-BR"/>
              <a:t>Clique para editar o texto mestre</a:t>
            </a:r>
            <a:endParaRPr lang="en-US"/>
          </a:p>
        </p:txBody>
      </p:sp>
      <p:sp>
        <p:nvSpPr>
          <p:cNvPr id="81" name="Espaço Reservado para Texto 75"/>
          <p:cNvSpPr>
            <a:spLocks noGrp="1"/>
          </p:cNvSpPr>
          <p:nvPr>
            <p:ph type="body" sz="quarter" idx="15"/>
          </p:nvPr>
        </p:nvSpPr>
        <p:spPr>
          <a:xfrm>
            <a:off x="2298406" y="7801877"/>
            <a:ext cx="12960938" cy="1036667"/>
          </a:xfrm>
          <a:prstGeom prst="rect">
            <a:avLst/>
          </a:prstGeom>
        </p:spPr>
        <p:txBody>
          <a:bodyPr anchor="ctr"/>
          <a:lstStyle>
            <a:lvl1pPr marL="0" indent="0" algn="ctr">
              <a:buNone/>
              <a:defRPr sz="2304" i="1">
                <a:latin typeface="Votorantim Sans Black" panose="020B0604020202020204" charset="0"/>
              </a:defRPr>
            </a:lvl1pPr>
          </a:lstStyle>
          <a:p>
            <a:pPr lvl="0"/>
            <a:r>
              <a:rPr lang="pt-BR"/>
              <a:t>Clique para editar o texto mestre</a:t>
            </a:r>
            <a:endParaRPr lang="en-US"/>
          </a:p>
        </p:txBody>
      </p:sp>
      <p:pic>
        <p:nvPicPr>
          <p:cNvPr id="14" name="Imagem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166651" y="330666"/>
            <a:ext cx="2073750" cy="779105"/>
          </a:xfrm>
          <a:prstGeom prst="rect">
            <a:avLst/>
          </a:prstGeom>
        </p:spPr>
      </p:pic>
      <p:sp>
        <p:nvSpPr>
          <p:cNvPr id="79" name="Espaço Reservado para Texto 3"/>
          <p:cNvSpPr>
            <a:spLocks noGrp="1"/>
          </p:cNvSpPr>
          <p:nvPr>
            <p:ph type="body" sz="quarter" idx="13"/>
          </p:nvPr>
        </p:nvSpPr>
        <p:spPr>
          <a:xfrm>
            <a:off x="1002313" y="521897"/>
            <a:ext cx="15553125" cy="777500"/>
          </a:xfrm>
          <a:prstGeom prst="rect">
            <a:avLst/>
          </a:prstGeom>
        </p:spPr>
        <p:txBody>
          <a:bodyPr anchor="ctr"/>
          <a:lstStyle>
            <a:lvl1pPr marL="0" indent="0" algn="l">
              <a:buNone/>
              <a:defRPr sz="3456">
                <a:latin typeface="Votorantim Sans Black" panose="020B0604020202020204" charset="0"/>
              </a:defRPr>
            </a:lvl1pPr>
          </a:lstStyle>
          <a:p>
            <a:pPr lvl="0"/>
            <a:r>
              <a:rPr lang="pt-BR"/>
              <a:t>Clique para editar o texto mestre</a:t>
            </a:r>
          </a:p>
        </p:txBody>
      </p:sp>
      <p:sp>
        <p:nvSpPr>
          <p:cNvPr id="345" name="Freeform 5">
            <a:extLst>
              <a:ext uri="{FF2B5EF4-FFF2-40B4-BE49-F238E27FC236}">
                <a16:creationId xmlns:a16="http://schemas.microsoft.com/office/drawing/2014/main" id="{BCC76361-A1A3-44A3-837D-ACFC22C96AC4}"/>
              </a:ext>
            </a:extLst>
          </p:cNvPr>
          <p:cNvSpPr>
            <a:spLocks noChangeAspect="1"/>
          </p:cNvSpPr>
          <p:nvPr userDrawn="1"/>
        </p:nvSpPr>
        <p:spPr bwMode="auto">
          <a:xfrm rot="16200000" flipV="1">
            <a:off x="-145" y="147"/>
            <a:ext cx="1478850" cy="1478558"/>
          </a:xfrm>
          <a:custGeom>
            <a:avLst/>
            <a:gdLst>
              <a:gd name="T0" fmla="*/ 1087 w 2126"/>
              <a:gd name="T1" fmla="*/ 2125 h 2125"/>
              <a:gd name="T2" fmla="*/ 0 w 2126"/>
              <a:gd name="T3" fmla="*/ 2125 h 2125"/>
              <a:gd name="T4" fmla="*/ 2126 w 2126"/>
              <a:gd name="T5" fmla="*/ 0 h 2125"/>
              <a:gd name="T6" fmla="*/ 2126 w 2126"/>
              <a:gd name="T7" fmla="*/ 1086 h 2125"/>
              <a:gd name="T8" fmla="*/ 1087 w 2126"/>
              <a:gd name="T9" fmla="*/ 2125 h 2125"/>
            </a:gdLst>
            <a:ahLst/>
            <a:cxnLst>
              <a:cxn ang="0">
                <a:pos x="T0" y="T1"/>
              </a:cxn>
              <a:cxn ang="0">
                <a:pos x="T2" y="T3"/>
              </a:cxn>
              <a:cxn ang="0">
                <a:pos x="T4" y="T5"/>
              </a:cxn>
              <a:cxn ang="0">
                <a:pos x="T6" y="T7"/>
              </a:cxn>
              <a:cxn ang="0">
                <a:pos x="T8" y="T9"/>
              </a:cxn>
            </a:cxnLst>
            <a:rect l="0" t="0" r="r" b="b"/>
            <a:pathLst>
              <a:path w="2126" h="2125">
                <a:moveTo>
                  <a:pt x="1087" y="2125"/>
                </a:moveTo>
                <a:cubicBezTo>
                  <a:pt x="0" y="2125"/>
                  <a:pt x="0" y="2125"/>
                  <a:pt x="0" y="2125"/>
                </a:cubicBezTo>
                <a:cubicBezTo>
                  <a:pt x="0" y="953"/>
                  <a:pt x="954" y="0"/>
                  <a:pt x="2126" y="0"/>
                </a:cubicBezTo>
                <a:cubicBezTo>
                  <a:pt x="2126" y="1086"/>
                  <a:pt x="2126" y="1086"/>
                  <a:pt x="2126" y="1086"/>
                </a:cubicBezTo>
                <a:cubicBezTo>
                  <a:pt x="1553" y="1086"/>
                  <a:pt x="1087" y="1552"/>
                  <a:pt x="1087" y="2125"/>
                </a:cubicBezTo>
              </a:path>
            </a:pathLst>
          </a:custGeom>
          <a:solidFill>
            <a:srgbClr val="FF5000"/>
          </a:solidFill>
          <a:ln>
            <a:noFill/>
          </a:ln>
        </p:spPr>
        <p:txBody>
          <a:bodyPr vert="horz" wrap="square" lIns="91414" tIns="45707" rIns="91414" bIns="45707" numCol="1" anchor="t" anchorCtr="0" compatLnSpc="1">
            <a:prstTxWarp prst="textNoShape">
              <a:avLst/>
            </a:prstTxWarp>
          </a:bodyPr>
          <a:lstStyle/>
          <a:p>
            <a:endParaRPr lang="pt-BR" sz="1800"/>
          </a:p>
        </p:txBody>
      </p:sp>
      <p:pic>
        <p:nvPicPr>
          <p:cNvPr id="346" name="Imagem 345">
            <a:extLst>
              <a:ext uri="{FF2B5EF4-FFF2-40B4-BE49-F238E27FC236}">
                <a16:creationId xmlns:a16="http://schemas.microsoft.com/office/drawing/2014/main" id="{43D8DCC7-0E7F-4A83-BA18-0C1EB17B4FE3}"/>
              </a:ext>
            </a:extLst>
          </p:cNvPr>
          <p:cNvPicPr>
            <a:picLocks noChangeAspect="1"/>
          </p:cNvPicPr>
          <p:nvPr userDrawn="1"/>
        </p:nvPicPr>
        <p:blipFill>
          <a:blip r:embed="rId6"/>
          <a:stretch>
            <a:fillRect/>
          </a:stretch>
        </p:blipFill>
        <p:spPr>
          <a:xfrm>
            <a:off x="1002313" y="9433290"/>
            <a:ext cx="15553125" cy="370657"/>
          </a:xfrm>
          <a:prstGeom prst="rect">
            <a:avLst/>
          </a:prstGeom>
        </p:spPr>
      </p:pic>
    </p:spTree>
    <p:extLst>
      <p:ext uri="{BB962C8B-B14F-4D97-AF65-F5344CB8AC3E}">
        <p14:creationId xmlns:p14="http://schemas.microsoft.com/office/powerpoint/2010/main" val="4681043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916482445"/>
              </p:ext>
            </p:extLst>
          </p:nvPr>
        </p:nvGraphicFramePr>
        <p:xfrm>
          <a:off x="2287" y="2287"/>
          <a:ext cx="2287" cy="2286"/>
        </p:xfrm>
        <a:graphic>
          <a:graphicData uri="http://schemas.openxmlformats.org/presentationml/2006/ole">
            <mc:AlternateContent xmlns:mc="http://schemas.openxmlformats.org/markup-compatibility/2006">
              <mc:Choice xmlns:v="urn:schemas-microsoft-com:vml" Requires="v">
                <p:oleObj name="Slide do think-cell" r:id="rId3" imgW="470" imgH="469" progId="TCLayout.ActiveDocument.1">
                  <p:embed/>
                </p:oleObj>
              </mc:Choice>
              <mc:Fallback>
                <p:oleObj name="Slide do think-cell" r:id="rId3" imgW="470" imgH="469" progId="TCLayout.ActiveDocument.1">
                  <p:embed/>
                  <p:pic>
                    <p:nvPicPr>
                      <p:cNvPr id="3" name="Objeto 2" hidden="1"/>
                      <p:cNvPicPr/>
                      <p:nvPr/>
                    </p:nvPicPr>
                    <p:blipFill>
                      <a:blip r:embed="rId4"/>
                      <a:stretch>
                        <a:fillRect/>
                      </a:stretch>
                    </p:blipFill>
                    <p:spPr>
                      <a:xfrm>
                        <a:off x="2287" y="2287"/>
                        <a:ext cx="2287" cy="2286"/>
                      </a:xfrm>
                      <a:prstGeom prst="rect">
                        <a:avLst/>
                      </a:prstGeom>
                    </p:spPr>
                  </p:pic>
                </p:oleObj>
              </mc:Fallback>
            </mc:AlternateContent>
          </a:graphicData>
        </a:graphic>
      </p:graphicFrame>
    </p:spTree>
    <p:extLst>
      <p:ext uri="{BB962C8B-B14F-4D97-AF65-F5344CB8AC3E}">
        <p14:creationId xmlns:p14="http://schemas.microsoft.com/office/powerpoint/2010/main" val="13696677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3BC2400-D044-4FAA-B18C-667F26D6C57C}"/>
              </a:ext>
            </a:extLst>
          </p:cNvPr>
          <p:cNvSpPr>
            <a:spLocks noGrp="1"/>
          </p:cNvSpPr>
          <p:nvPr>
            <p:ph type="ctrTitle"/>
          </p:nvPr>
        </p:nvSpPr>
        <p:spPr>
          <a:xfrm>
            <a:off x="2194719" y="1615995"/>
            <a:ext cx="13168313" cy="3437702"/>
          </a:xfrm>
        </p:spPr>
        <p:txBody>
          <a:bodyPr anchor="b"/>
          <a:lstStyle>
            <a:lvl1pPr algn="ctr">
              <a:defRPr sz="8639"/>
            </a:lvl1pPr>
          </a:lstStyle>
          <a:p>
            <a:r>
              <a:rPr lang="es-ES"/>
              <a:t>Haga clic para modificar el estilo de título del patrón</a:t>
            </a:r>
            <a:endParaRPr lang="es-PE"/>
          </a:p>
        </p:txBody>
      </p:sp>
      <p:sp>
        <p:nvSpPr>
          <p:cNvPr id="3" name="Subtítulo 2">
            <a:extLst>
              <a:ext uri="{FF2B5EF4-FFF2-40B4-BE49-F238E27FC236}">
                <a16:creationId xmlns:a16="http://schemas.microsoft.com/office/drawing/2014/main" id="{54FBB2B4-0C15-46E7-ACE8-574F0A7CAAB1}"/>
              </a:ext>
            </a:extLst>
          </p:cNvPr>
          <p:cNvSpPr>
            <a:spLocks noGrp="1"/>
          </p:cNvSpPr>
          <p:nvPr>
            <p:ph type="subTitle" idx="1"/>
          </p:nvPr>
        </p:nvSpPr>
        <p:spPr>
          <a:xfrm>
            <a:off x="2194719" y="5186268"/>
            <a:ext cx="13168313" cy="2383991"/>
          </a:xfrm>
        </p:spPr>
        <p:txBody>
          <a:bodyPr/>
          <a:lstStyle>
            <a:lvl1pPr marL="0" indent="0" algn="ctr">
              <a:buNone/>
              <a:defRPr sz="3456"/>
            </a:lvl1pPr>
            <a:lvl2pPr marL="658277" indent="0" algn="ctr">
              <a:buNone/>
              <a:defRPr sz="2880"/>
            </a:lvl2pPr>
            <a:lvl3pPr marL="1316553" indent="0" algn="ctr">
              <a:buNone/>
              <a:defRPr sz="2592"/>
            </a:lvl3pPr>
            <a:lvl4pPr marL="1974830" indent="0" algn="ctr">
              <a:buNone/>
              <a:defRPr sz="2304"/>
            </a:lvl4pPr>
            <a:lvl5pPr marL="2633106" indent="0" algn="ctr">
              <a:buNone/>
              <a:defRPr sz="2304"/>
            </a:lvl5pPr>
            <a:lvl6pPr marL="3291383" indent="0" algn="ctr">
              <a:buNone/>
              <a:defRPr sz="2304"/>
            </a:lvl6pPr>
            <a:lvl7pPr marL="3949659" indent="0" algn="ctr">
              <a:buNone/>
              <a:defRPr sz="2304"/>
            </a:lvl7pPr>
            <a:lvl8pPr marL="4607936" indent="0" algn="ctr">
              <a:buNone/>
              <a:defRPr sz="2304"/>
            </a:lvl8pPr>
            <a:lvl9pPr marL="5266212" indent="0" algn="ctr">
              <a:buNone/>
              <a:defRPr sz="2304"/>
            </a:lvl9pPr>
          </a:lstStyle>
          <a:p>
            <a:r>
              <a:rPr lang="es-ES"/>
              <a:t>Haga clic para modificar el estilo de subtítulo del patrón</a:t>
            </a:r>
            <a:endParaRPr lang="es-PE"/>
          </a:p>
        </p:txBody>
      </p:sp>
      <p:sp>
        <p:nvSpPr>
          <p:cNvPr id="4" name="Marcador de fecha 3">
            <a:extLst>
              <a:ext uri="{FF2B5EF4-FFF2-40B4-BE49-F238E27FC236}">
                <a16:creationId xmlns:a16="http://schemas.microsoft.com/office/drawing/2014/main" id="{2CEB069A-2F43-4B07-89AD-00AC6FEADBDC}"/>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5" name="Marcador de pie de página 4">
            <a:extLst>
              <a:ext uri="{FF2B5EF4-FFF2-40B4-BE49-F238E27FC236}">
                <a16:creationId xmlns:a16="http://schemas.microsoft.com/office/drawing/2014/main" id="{F1769162-C84C-4618-A12B-79882ADAB541}"/>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350A28F1-020C-486C-A05B-26DDF1E509D3}"/>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17819125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FA819C8-7ACC-4A32-8A23-1731406A88BE}"/>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603D7F4B-EC71-4DA3-9275-5F186C99D4F1}"/>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9E939A0E-12D8-4716-A31F-EBE64BCB23E7}"/>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5" name="Marcador de pie de página 4">
            <a:extLst>
              <a:ext uri="{FF2B5EF4-FFF2-40B4-BE49-F238E27FC236}">
                <a16:creationId xmlns:a16="http://schemas.microsoft.com/office/drawing/2014/main" id="{BFE356E6-85BD-4FFD-9736-CB40844060A4}"/>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20F9BD0D-A261-4C7C-9E09-36134CBD94EC}"/>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16594462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7BB6B48-BC60-4572-A580-0C8DD67F1305}"/>
              </a:ext>
            </a:extLst>
          </p:cNvPr>
          <p:cNvSpPr>
            <a:spLocks noGrp="1"/>
          </p:cNvSpPr>
          <p:nvPr>
            <p:ph type="title"/>
          </p:nvPr>
        </p:nvSpPr>
        <p:spPr>
          <a:xfrm>
            <a:off x="1197951" y="2461707"/>
            <a:ext cx="15143559" cy="4107413"/>
          </a:xfrm>
        </p:spPr>
        <p:txBody>
          <a:bodyPr anchor="b"/>
          <a:lstStyle>
            <a:lvl1pPr>
              <a:defRPr sz="8639"/>
            </a:lvl1p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C7D30140-11DE-4B79-A13A-5285147B39FF}"/>
              </a:ext>
            </a:extLst>
          </p:cNvPr>
          <p:cNvSpPr>
            <a:spLocks noGrp="1"/>
          </p:cNvSpPr>
          <p:nvPr>
            <p:ph type="body" idx="1"/>
          </p:nvPr>
        </p:nvSpPr>
        <p:spPr>
          <a:xfrm>
            <a:off x="1197951" y="6607978"/>
            <a:ext cx="15143559" cy="2159991"/>
          </a:xfrm>
        </p:spPr>
        <p:txBody>
          <a:bodyPr/>
          <a:lstStyle>
            <a:lvl1pPr marL="0" indent="0">
              <a:buNone/>
              <a:defRPr sz="3456">
                <a:solidFill>
                  <a:schemeClr val="tx1">
                    <a:tint val="75000"/>
                  </a:schemeClr>
                </a:solidFill>
              </a:defRPr>
            </a:lvl1pPr>
            <a:lvl2pPr marL="658277" indent="0">
              <a:buNone/>
              <a:defRPr sz="2880">
                <a:solidFill>
                  <a:schemeClr val="tx1">
                    <a:tint val="75000"/>
                  </a:schemeClr>
                </a:solidFill>
              </a:defRPr>
            </a:lvl2pPr>
            <a:lvl3pPr marL="1316553" indent="0">
              <a:buNone/>
              <a:defRPr sz="2592">
                <a:solidFill>
                  <a:schemeClr val="tx1">
                    <a:tint val="75000"/>
                  </a:schemeClr>
                </a:solidFill>
              </a:defRPr>
            </a:lvl3pPr>
            <a:lvl4pPr marL="1974830" indent="0">
              <a:buNone/>
              <a:defRPr sz="2304">
                <a:solidFill>
                  <a:schemeClr val="tx1">
                    <a:tint val="75000"/>
                  </a:schemeClr>
                </a:solidFill>
              </a:defRPr>
            </a:lvl4pPr>
            <a:lvl5pPr marL="2633106" indent="0">
              <a:buNone/>
              <a:defRPr sz="2304">
                <a:solidFill>
                  <a:schemeClr val="tx1">
                    <a:tint val="75000"/>
                  </a:schemeClr>
                </a:solidFill>
              </a:defRPr>
            </a:lvl5pPr>
            <a:lvl6pPr marL="3291383" indent="0">
              <a:buNone/>
              <a:defRPr sz="2304">
                <a:solidFill>
                  <a:schemeClr val="tx1">
                    <a:tint val="75000"/>
                  </a:schemeClr>
                </a:solidFill>
              </a:defRPr>
            </a:lvl6pPr>
            <a:lvl7pPr marL="3949659" indent="0">
              <a:buNone/>
              <a:defRPr sz="2304">
                <a:solidFill>
                  <a:schemeClr val="tx1">
                    <a:tint val="75000"/>
                  </a:schemeClr>
                </a:solidFill>
              </a:defRPr>
            </a:lvl7pPr>
            <a:lvl8pPr marL="4607936" indent="0">
              <a:buNone/>
              <a:defRPr sz="2304">
                <a:solidFill>
                  <a:schemeClr val="tx1">
                    <a:tint val="75000"/>
                  </a:schemeClr>
                </a:solidFill>
              </a:defRPr>
            </a:lvl8pPr>
            <a:lvl9pPr marL="5266212" indent="0">
              <a:buNone/>
              <a:defRPr sz="2304">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27B793C2-1294-47A0-9190-30DBB0157F9B}"/>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5" name="Marcador de pie de página 4">
            <a:extLst>
              <a:ext uri="{FF2B5EF4-FFF2-40B4-BE49-F238E27FC236}">
                <a16:creationId xmlns:a16="http://schemas.microsoft.com/office/drawing/2014/main" id="{9769195B-F5FC-468B-A0FB-6CBC148D4BD8}"/>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C0E49509-A4C2-47F4-A075-2EA6597DD204}"/>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42568174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1C283A4-D0B6-4607-A7BE-F1D769EFEED7}"/>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E05DCE15-6320-4863-A529-16ACAB32F37A}"/>
              </a:ext>
            </a:extLst>
          </p:cNvPr>
          <p:cNvSpPr>
            <a:spLocks noGrp="1"/>
          </p:cNvSpPr>
          <p:nvPr>
            <p:ph sz="half" idx="1"/>
          </p:nvPr>
        </p:nvSpPr>
        <p:spPr>
          <a:xfrm>
            <a:off x="1207095" y="2628562"/>
            <a:ext cx="7462044" cy="6265121"/>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contenido 3">
            <a:extLst>
              <a:ext uri="{FF2B5EF4-FFF2-40B4-BE49-F238E27FC236}">
                <a16:creationId xmlns:a16="http://schemas.microsoft.com/office/drawing/2014/main" id="{89C332F1-18DC-4AFA-97DF-BC69F911A1D1}"/>
              </a:ext>
            </a:extLst>
          </p:cNvPr>
          <p:cNvSpPr>
            <a:spLocks noGrp="1"/>
          </p:cNvSpPr>
          <p:nvPr>
            <p:ph sz="half" idx="2"/>
          </p:nvPr>
        </p:nvSpPr>
        <p:spPr>
          <a:xfrm>
            <a:off x="8888611" y="2628562"/>
            <a:ext cx="7462044" cy="6265121"/>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fecha 4">
            <a:extLst>
              <a:ext uri="{FF2B5EF4-FFF2-40B4-BE49-F238E27FC236}">
                <a16:creationId xmlns:a16="http://schemas.microsoft.com/office/drawing/2014/main" id="{4AD5BA39-567A-4E6E-931D-2B6A650B2797}"/>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6" name="Marcador de pie de página 5">
            <a:extLst>
              <a:ext uri="{FF2B5EF4-FFF2-40B4-BE49-F238E27FC236}">
                <a16:creationId xmlns:a16="http://schemas.microsoft.com/office/drawing/2014/main" id="{C40E3AB2-83C8-43A5-A99E-41847DAA6F61}"/>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5B20FC5B-411C-4424-B715-37C29C591480}"/>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2732199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97951" y="2461707"/>
            <a:ext cx="15143559" cy="4107413"/>
          </a:xfrm>
        </p:spPr>
        <p:txBody>
          <a:bodyPr anchor="b"/>
          <a:lstStyle>
            <a:lvl1pPr>
              <a:defRPr sz="8639"/>
            </a:lvl1pPr>
          </a:lstStyle>
          <a:p>
            <a:r>
              <a:rPr lang="en-US"/>
              <a:t>Click to edit Master title style</a:t>
            </a:r>
            <a:endParaRPr lang="en-US" dirty="0"/>
          </a:p>
        </p:txBody>
      </p:sp>
      <p:sp>
        <p:nvSpPr>
          <p:cNvPr id="3" name="Text Placeholder 2"/>
          <p:cNvSpPr>
            <a:spLocks noGrp="1"/>
          </p:cNvSpPr>
          <p:nvPr>
            <p:ph type="body" idx="1"/>
          </p:nvPr>
        </p:nvSpPr>
        <p:spPr>
          <a:xfrm>
            <a:off x="1197951" y="6607978"/>
            <a:ext cx="15143559" cy="2159991"/>
          </a:xfrm>
        </p:spPr>
        <p:txBody>
          <a:bodyPr/>
          <a:lstStyle>
            <a:lvl1pPr marL="0" indent="0">
              <a:buNone/>
              <a:defRPr sz="3456">
                <a:solidFill>
                  <a:schemeClr val="tx1">
                    <a:tint val="75000"/>
                  </a:schemeClr>
                </a:solidFill>
              </a:defRPr>
            </a:lvl1pPr>
            <a:lvl2pPr marL="658277" indent="0">
              <a:buNone/>
              <a:defRPr sz="2880">
                <a:solidFill>
                  <a:schemeClr val="tx1">
                    <a:tint val="75000"/>
                  </a:schemeClr>
                </a:solidFill>
              </a:defRPr>
            </a:lvl2pPr>
            <a:lvl3pPr marL="1316553" indent="0">
              <a:buNone/>
              <a:defRPr sz="2592">
                <a:solidFill>
                  <a:schemeClr val="tx1">
                    <a:tint val="75000"/>
                  </a:schemeClr>
                </a:solidFill>
              </a:defRPr>
            </a:lvl3pPr>
            <a:lvl4pPr marL="1974830" indent="0">
              <a:buNone/>
              <a:defRPr sz="2304">
                <a:solidFill>
                  <a:schemeClr val="tx1">
                    <a:tint val="75000"/>
                  </a:schemeClr>
                </a:solidFill>
              </a:defRPr>
            </a:lvl4pPr>
            <a:lvl5pPr marL="2633106" indent="0">
              <a:buNone/>
              <a:defRPr sz="2304">
                <a:solidFill>
                  <a:schemeClr val="tx1">
                    <a:tint val="75000"/>
                  </a:schemeClr>
                </a:solidFill>
              </a:defRPr>
            </a:lvl5pPr>
            <a:lvl6pPr marL="3291383" indent="0">
              <a:buNone/>
              <a:defRPr sz="2304">
                <a:solidFill>
                  <a:schemeClr val="tx1">
                    <a:tint val="75000"/>
                  </a:schemeClr>
                </a:solidFill>
              </a:defRPr>
            </a:lvl6pPr>
            <a:lvl7pPr marL="3949659" indent="0">
              <a:buNone/>
              <a:defRPr sz="2304">
                <a:solidFill>
                  <a:schemeClr val="tx1">
                    <a:tint val="75000"/>
                  </a:schemeClr>
                </a:solidFill>
              </a:defRPr>
            </a:lvl7pPr>
            <a:lvl8pPr marL="4607936" indent="0">
              <a:buNone/>
              <a:defRPr sz="2304">
                <a:solidFill>
                  <a:schemeClr val="tx1">
                    <a:tint val="75000"/>
                  </a:schemeClr>
                </a:solidFill>
              </a:defRPr>
            </a:lvl8pPr>
            <a:lvl9pPr marL="5266212" indent="0">
              <a:buNone/>
              <a:defRPr sz="2304">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CA3E2F-70EE-9DF3-2B69-A6193C3F8C4F}"/>
              </a:ext>
            </a:extLst>
          </p:cNvPr>
          <p:cNvSpPr>
            <a:spLocks noGrp="1"/>
          </p:cNvSpPr>
          <p:nvPr>
            <p:ph type="dt" sz="half" idx="10"/>
          </p:nvPr>
        </p:nvSpPr>
        <p:spPr/>
        <p:txBody>
          <a:bodyPr/>
          <a:lstStyle>
            <a:lvl1pPr>
              <a:defRPr/>
            </a:lvl1pPr>
          </a:lstStyle>
          <a:p>
            <a:pPr>
              <a:defRPr/>
            </a:pPr>
            <a:fld id="{E2C8E650-FF9E-4EFF-A7E7-54B724D939A9}" type="datetimeFigureOut">
              <a:rPr lang="en-US"/>
              <a:pPr>
                <a:defRPr/>
              </a:pPr>
              <a:t>9/9/2024</a:t>
            </a:fld>
            <a:endParaRPr lang="en-US"/>
          </a:p>
        </p:txBody>
      </p:sp>
      <p:sp>
        <p:nvSpPr>
          <p:cNvPr id="5" name="Footer Placeholder 4">
            <a:extLst>
              <a:ext uri="{FF2B5EF4-FFF2-40B4-BE49-F238E27FC236}">
                <a16:creationId xmlns:a16="http://schemas.microsoft.com/office/drawing/2014/main" id="{844FC5AF-879E-A9F4-EC4A-BFF8ED394EF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FCF67C9-DB35-AC80-F94E-ED4E0E7AA6C4}"/>
              </a:ext>
            </a:extLst>
          </p:cNvPr>
          <p:cNvSpPr>
            <a:spLocks noGrp="1"/>
          </p:cNvSpPr>
          <p:nvPr>
            <p:ph type="sldNum" sz="quarter" idx="12"/>
          </p:nvPr>
        </p:nvSpPr>
        <p:spPr/>
        <p:txBody>
          <a:bodyPr/>
          <a:lstStyle>
            <a:lvl1pPr>
              <a:defRPr/>
            </a:lvl1pPr>
          </a:lstStyle>
          <a:p>
            <a:fld id="{EA8B08B7-9FCA-4E79-84D1-68AD6836212D}" type="slidenum">
              <a:rPr lang="en-US" altLang="en-US"/>
              <a:pPr/>
              <a:t>‹Nº›</a:t>
            </a:fld>
            <a:endParaRPr lang="en-US" altLang="en-US"/>
          </a:p>
        </p:txBody>
      </p:sp>
    </p:spTree>
    <p:extLst>
      <p:ext uri="{BB962C8B-B14F-4D97-AF65-F5344CB8AC3E}">
        <p14:creationId xmlns:p14="http://schemas.microsoft.com/office/powerpoint/2010/main" val="739175930"/>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A71F12E-18A5-4398-A6E4-9249069CEB0A}"/>
              </a:ext>
            </a:extLst>
          </p:cNvPr>
          <p:cNvSpPr>
            <a:spLocks noGrp="1"/>
          </p:cNvSpPr>
          <p:nvPr>
            <p:ph type="title"/>
          </p:nvPr>
        </p:nvSpPr>
        <p:spPr>
          <a:xfrm>
            <a:off x="1209382" y="525713"/>
            <a:ext cx="15143559" cy="1908565"/>
          </a:xfrm>
        </p:spPr>
        <p:txBody>
          <a:body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EE050CC3-8193-49D1-875F-9245A06CDE14}"/>
              </a:ext>
            </a:extLst>
          </p:cNvPr>
          <p:cNvSpPr>
            <a:spLocks noGrp="1"/>
          </p:cNvSpPr>
          <p:nvPr>
            <p:ph type="body" idx="1"/>
          </p:nvPr>
        </p:nvSpPr>
        <p:spPr>
          <a:xfrm>
            <a:off x="1209383" y="2420563"/>
            <a:ext cx="7427751" cy="1186281"/>
          </a:xfrm>
        </p:spPr>
        <p:txBody>
          <a:bodyPr anchor="b"/>
          <a:lstStyle>
            <a:lvl1pPr marL="0" indent="0">
              <a:buNone/>
              <a:defRPr sz="3456" b="1"/>
            </a:lvl1pPr>
            <a:lvl2pPr marL="658277" indent="0">
              <a:buNone/>
              <a:defRPr sz="2880" b="1"/>
            </a:lvl2pPr>
            <a:lvl3pPr marL="1316553" indent="0">
              <a:buNone/>
              <a:defRPr sz="2592" b="1"/>
            </a:lvl3pPr>
            <a:lvl4pPr marL="1974830" indent="0">
              <a:buNone/>
              <a:defRPr sz="2304" b="1"/>
            </a:lvl4pPr>
            <a:lvl5pPr marL="2633106" indent="0">
              <a:buNone/>
              <a:defRPr sz="2304" b="1"/>
            </a:lvl5pPr>
            <a:lvl6pPr marL="3291383" indent="0">
              <a:buNone/>
              <a:defRPr sz="2304" b="1"/>
            </a:lvl6pPr>
            <a:lvl7pPr marL="3949659" indent="0">
              <a:buNone/>
              <a:defRPr sz="2304" b="1"/>
            </a:lvl7pPr>
            <a:lvl8pPr marL="4607936" indent="0">
              <a:buNone/>
              <a:defRPr sz="2304" b="1"/>
            </a:lvl8pPr>
            <a:lvl9pPr marL="5266212" indent="0">
              <a:buNone/>
              <a:defRPr sz="2304"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F25947A5-9C1D-47EB-BE98-1F62C3F577FB}"/>
              </a:ext>
            </a:extLst>
          </p:cNvPr>
          <p:cNvSpPr>
            <a:spLocks noGrp="1"/>
          </p:cNvSpPr>
          <p:nvPr>
            <p:ph sz="half" idx="2"/>
          </p:nvPr>
        </p:nvSpPr>
        <p:spPr>
          <a:xfrm>
            <a:off x="1209383" y="3606844"/>
            <a:ext cx="7427751" cy="530512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texto 4">
            <a:extLst>
              <a:ext uri="{FF2B5EF4-FFF2-40B4-BE49-F238E27FC236}">
                <a16:creationId xmlns:a16="http://schemas.microsoft.com/office/drawing/2014/main" id="{9FF60BE7-3DE3-4DED-899F-004F89E5FC79}"/>
              </a:ext>
            </a:extLst>
          </p:cNvPr>
          <p:cNvSpPr>
            <a:spLocks noGrp="1"/>
          </p:cNvSpPr>
          <p:nvPr>
            <p:ph type="body" sz="quarter" idx="3"/>
          </p:nvPr>
        </p:nvSpPr>
        <p:spPr>
          <a:xfrm>
            <a:off x="8888611" y="2420563"/>
            <a:ext cx="7464331" cy="1186281"/>
          </a:xfrm>
        </p:spPr>
        <p:txBody>
          <a:bodyPr anchor="b"/>
          <a:lstStyle>
            <a:lvl1pPr marL="0" indent="0">
              <a:buNone/>
              <a:defRPr sz="3456" b="1"/>
            </a:lvl1pPr>
            <a:lvl2pPr marL="658277" indent="0">
              <a:buNone/>
              <a:defRPr sz="2880" b="1"/>
            </a:lvl2pPr>
            <a:lvl3pPr marL="1316553" indent="0">
              <a:buNone/>
              <a:defRPr sz="2592" b="1"/>
            </a:lvl3pPr>
            <a:lvl4pPr marL="1974830" indent="0">
              <a:buNone/>
              <a:defRPr sz="2304" b="1"/>
            </a:lvl4pPr>
            <a:lvl5pPr marL="2633106" indent="0">
              <a:buNone/>
              <a:defRPr sz="2304" b="1"/>
            </a:lvl5pPr>
            <a:lvl6pPr marL="3291383" indent="0">
              <a:buNone/>
              <a:defRPr sz="2304" b="1"/>
            </a:lvl6pPr>
            <a:lvl7pPr marL="3949659" indent="0">
              <a:buNone/>
              <a:defRPr sz="2304" b="1"/>
            </a:lvl7pPr>
            <a:lvl8pPr marL="4607936" indent="0">
              <a:buNone/>
              <a:defRPr sz="2304" b="1"/>
            </a:lvl8pPr>
            <a:lvl9pPr marL="5266212" indent="0">
              <a:buNone/>
              <a:defRPr sz="2304"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65D49ED2-BA66-41FA-85DD-C39D122E4008}"/>
              </a:ext>
            </a:extLst>
          </p:cNvPr>
          <p:cNvSpPr>
            <a:spLocks noGrp="1"/>
          </p:cNvSpPr>
          <p:nvPr>
            <p:ph sz="quarter" idx="4"/>
          </p:nvPr>
        </p:nvSpPr>
        <p:spPr>
          <a:xfrm>
            <a:off x="8888611" y="3606844"/>
            <a:ext cx="7464331" cy="530512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7" name="Marcador de fecha 6">
            <a:extLst>
              <a:ext uri="{FF2B5EF4-FFF2-40B4-BE49-F238E27FC236}">
                <a16:creationId xmlns:a16="http://schemas.microsoft.com/office/drawing/2014/main" id="{4C78AF50-1D10-4694-B369-0189EA8E4076}"/>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8" name="Marcador de pie de página 7">
            <a:extLst>
              <a:ext uri="{FF2B5EF4-FFF2-40B4-BE49-F238E27FC236}">
                <a16:creationId xmlns:a16="http://schemas.microsoft.com/office/drawing/2014/main" id="{57E746FE-D113-4E33-84A5-65F11976563D}"/>
              </a:ext>
            </a:extLst>
          </p:cNvPr>
          <p:cNvSpPr>
            <a:spLocks noGrp="1"/>
          </p:cNvSpPr>
          <p:nvPr>
            <p:ph type="ftr" sz="quarter" idx="11"/>
          </p:nvPr>
        </p:nvSpPr>
        <p:spPr/>
        <p:txBody>
          <a:bodyPr/>
          <a:lstStyle/>
          <a:p>
            <a:endParaRPr lang="es-PE"/>
          </a:p>
        </p:txBody>
      </p:sp>
      <p:sp>
        <p:nvSpPr>
          <p:cNvPr id="9" name="Marcador de número de diapositiva 8">
            <a:extLst>
              <a:ext uri="{FF2B5EF4-FFF2-40B4-BE49-F238E27FC236}">
                <a16:creationId xmlns:a16="http://schemas.microsoft.com/office/drawing/2014/main" id="{519EE7BB-FEAF-4419-8ABC-A6368335C049}"/>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30029522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031866E-341F-4E5E-BAE2-A22DEC56772B}"/>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fecha 2">
            <a:extLst>
              <a:ext uri="{FF2B5EF4-FFF2-40B4-BE49-F238E27FC236}">
                <a16:creationId xmlns:a16="http://schemas.microsoft.com/office/drawing/2014/main" id="{FD6BE7C5-8352-473E-859D-B83E37803C4E}"/>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4" name="Marcador de pie de página 3">
            <a:extLst>
              <a:ext uri="{FF2B5EF4-FFF2-40B4-BE49-F238E27FC236}">
                <a16:creationId xmlns:a16="http://schemas.microsoft.com/office/drawing/2014/main" id="{933DF4B3-DEDE-476E-BB00-C45B41483028}"/>
              </a:ext>
            </a:extLst>
          </p:cNvPr>
          <p:cNvSpPr>
            <a:spLocks noGrp="1"/>
          </p:cNvSpPr>
          <p:nvPr>
            <p:ph type="ftr" sz="quarter" idx="11"/>
          </p:nvPr>
        </p:nvSpPr>
        <p:spPr/>
        <p:txBody>
          <a:bodyPr/>
          <a:lstStyle/>
          <a:p>
            <a:endParaRPr lang="es-PE"/>
          </a:p>
        </p:txBody>
      </p:sp>
      <p:sp>
        <p:nvSpPr>
          <p:cNvPr id="5" name="Marcador de número de diapositiva 4">
            <a:extLst>
              <a:ext uri="{FF2B5EF4-FFF2-40B4-BE49-F238E27FC236}">
                <a16:creationId xmlns:a16="http://schemas.microsoft.com/office/drawing/2014/main" id="{9C1DF5C8-2782-41FD-B17E-C7B1E2244372}"/>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14078951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2B201411-719A-4BFC-981C-278EF970EBAD}"/>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3" name="Marcador de pie de página 2">
            <a:extLst>
              <a:ext uri="{FF2B5EF4-FFF2-40B4-BE49-F238E27FC236}">
                <a16:creationId xmlns:a16="http://schemas.microsoft.com/office/drawing/2014/main" id="{67326FA8-63DA-4D80-B3EB-12B45A952FDA}"/>
              </a:ext>
            </a:extLst>
          </p:cNvPr>
          <p:cNvSpPr>
            <a:spLocks noGrp="1"/>
          </p:cNvSpPr>
          <p:nvPr>
            <p:ph type="ftr" sz="quarter" idx="11"/>
          </p:nvPr>
        </p:nvSpPr>
        <p:spPr/>
        <p:txBody>
          <a:bodyPr/>
          <a:lstStyle/>
          <a:p>
            <a:endParaRPr lang="es-PE"/>
          </a:p>
        </p:txBody>
      </p:sp>
      <p:sp>
        <p:nvSpPr>
          <p:cNvPr id="4" name="Marcador de número de diapositiva 3">
            <a:extLst>
              <a:ext uri="{FF2B5EF4-FFF2-40B4-BE49-F238E27FC236}">
                <a16:creationId xmlns:a16="http://schemas.microsoft.com/office/drawing/2014/main" id="{8459000B-896C-4752-B3A4-98DDFB4E5DA8}"/>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31338324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53CF191-E7D9-4FE1-B1D9-181A9CC6D3EC}"/>
              </a:ext>
            </a:extLst>
          </p:cNvPr>
          <p:cNvSpPr>
            <a:spLocks noGrp="1"/>
          </p:cNvSpPr>
          <p:nvPr>
            <p:ph type="title"/>
          </p:nvPr>
        </p:nvSpPr>
        <p:spPr>
          <a:xfrm>
            <a:off x="1209383" y="658283"/>
            <a:ext cx="5662831" cy="2303992"/>
          </a:xfrm>
        </p:spPr>
        <p:txBody>
          <a:bodyPr anchor="b"/>
          <a:lstStyle>
            <a:lvl1pPr>
              <a:defRPr sz="4607"/>
            </a:lvl1p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79371980-2A9E-4462-A6CC-2BC7FC737F99}"/>
              </a:ext>
            </a:extLst>
          </p:cNvPr>
          <p:cNvSpPr>
            <a:spLocks noGrp="1"/>
          </p:cNvSpPr>
          <p:nvPr>
            <p:ph idx="1"/>
          </p:nvPr>
        </p:nvSpPr>
        <p:spPr>
          <a:xfrm>
            <a:off x="7464331" y="1421710"/>
            <a:ext cx="8888611" cy="7017117"/>
          </a:xfrm>
        </p:spPr>
        <p:txBody>
          <a:bodyPr/>
          <a:lstStyle>
            <a:lvl1pPr>
              <a:defRPr sz="4607"/>
            </a:lvl1pPr>
            <a:lvl2pPr>
              <a:defRPr sz="4031"/>
            </a:lvl2pPr>
            <a:lvl3pPr>
              <a:defRPr sz="3456"/>
            </a:lvl3pPr>
            <a:lvl4pPr>
              <a:defRPr sz="2880"/>
            </a:lvl4pPr>
            <a:lvl5pPr>
              <a:defRPr sz="2880"/>
            </a:lvl5pPr>
            <a:lvl6pPr>
              <a:defRPr sz="2880"/>
            </a:lvl6pPr>
            <a:lvl7pPr>
              <a:defRPr sz="2880"/>
            </a:lvl7pPr>
            <a:lvl8pPr>
              <a:defRPr sz="2880"/>
            </a:lvl8pPr>
            <a:lvl9pPr>
              <a:defRPr sz="288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texto 3">
            <a:extLst>
              <a:ext uri="{FF2B5EF4-FFF2-40B4-BE49-F238E27FC236}">
                <a16:creationId xmlns:a16="http://schemas.microsoft.com/office/drawing/2014/main" id="{002310A0-505C-4A74-906B-0BA55E97783A}"/>
              </a:ext>
            </a:extLst>
          </p:cNvPr>
          <p:cNvSpPr>
            <a:spLocks noGrp="1"/>
          </p:cNvSpPr>
          <p:nvPr>
            <p:ph type="body" sz="half" idx="2"/>
          </p:nvPr>
        </p:nvSpPr>
        <p:spPr>
          <a:xfrm>
            <a:off x="1209383" y="2962275"/>
            <a:ext cx="5662831" cy="5487981"/>
          </a:xfrm>
        </p:spPr>
        <p:txBody>
          <a:bodyPr/>
          <a:lstStyle>
            <a:lvl1pPr marL="0" indent="0">
              <a:buNone/>
              <a:defRPr sz="2304"/>
            </a:lvl1pPr>
            <a:lvl2pPr marL="658277" indent="0">
              <a:buNone/>
              <a:defRPr sz="2016"/>
            </a:lvl2pPr>
            <a:lvl3pPr marL="1316553" indent="0">
              <a:buNone/>
              <a:defRPr sz="1728"/>
            </a:lvl3pPr>
            <a:lvl4pPr marL="1974830" indent="0">
              <a:buNone/>
              <a:defRPr sz="1440"/>
            </a:lvl4pPr>
            <a:lvl5pPr marL="2633106" indent="0">
              <a:buNone/>
              <a:defRPr sz="1440"/>
            </a:lvl5pPr>
            <a:lvl6pPr marL="3291383" indent="0">
              <a:buNone/>
              <a:defRPr sz="1440"/>
            </a:lvl6pPr>
            <a:lvl7pPr marL="3949659" indent="0">
              <a:buNone/>
              <a:defRPr sz="1440"/>
            </a:lvl7pPr>
            <a:lvl8pPr marL="4607936" indent="0">
              <a:buNone/>
              <a:defRPr sz="1440"/>
            </a:lvl8pPr>
            <a:lvl9pPr marL="5266212" indent="0">
              <a:buNone/>
              <a:defRPr sz="144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4175B26F-AC7F-4B59-BA9D-D025FB32D794}"/>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6" name="Marcador de pie de página 5">
            <a:extLst>
              <a:ext uri="{FF2B5EF4-FFF2-40B4-BE49-F238E27FC236}">
                <a16:creationId xmlns:a16="http://schemas.microsoft.com/office/drawing/2014/main" id="{BD47E39C-0294-476D-A624-6EDF4D35149A}"/>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1CFEA40A-F5F1-48AC-9AB7-60F354B90984}"/>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30399790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7D0BDB-DA09-4410-97F2-DEA4DF281F0B}"/>
              </a:ext>
            </a:extLst>
          </p:cNvPr>
          <p:cNvSpPr>
            <a:spLocks noGrp="1"/>
          </p:cNvSpPr>
          <p:nvPr>
            <p:ph type="title"/>
          </p:nvPr>
        </p:nvSpPr>
        <p:spPr>
          <a:xfrm>
            <a:off x="1209383" y="658283"/>
            <a:ext cx="5662831" cy="2303992"/>
          </a:xfrm>
        </p:spPr>
        <p:txBody>
          <a:bodyPr anchor="b"/>
          <a:lstStyle>
            <a:lvl1pPr>
              <a:defRPr sz="4607"/>
            </a:lvl1pPr>
          </a:lstStyle>
          <a:p>
            <a:r>
              <a:rPr lang="es-ES"/>
              <a:t>Haga clic para modificar el estilo de título del patrón</a:t>
            </a:r>
            <a:endParaRPr lang="es-PE"/>
          </a:p>
        </p:txBody>
      </p:sp>
      <p:sp>
        <p:nvSpPr>
          <p:cNvPr id="3" name="Marcador de posición de imagen 2">
            <a:extLst>
              <a:ext uri="{FF2B5EF4-FFF2-40B4-BE49-F238E27FC236}">
                <a16:creationId xmlns:a16="http://schemas.microsoft.com/office/drawing/2014/main" id="{5B132109-5DA9-4407-A2DE-216DB751EF3D}"/>
              </a:ext>
            </a:extLst>
          </p:cNvPr>
          <p:cNvSpPr>
            <a:spLocks noGrp="1"/>
          </p:cNvSpPr>
          <p:nvPr>
            <p:ph type="pic" idx="1"/>
          </p:nvPr>
        </p:nvSpPr>
        <p:spPr>
          <a:xfrm>
            <a:off x="7464331" y="1421710"/>
            <a:ext cx="8888611" cy="7017117"/>
          </a:xfrm>
        </p:spPr>
        <p:txBody>
          <a:bodyPr/>
          <a:lstStyle>
            <a:lvl1pPr marL="0" indent="0">
              <a:buNone/>
              <a:defRPr sz="4607"/>
            </a:lvl1pPr>
            <a:lvl2pPr marL="658277" indent="0">
              <a:buNone/>
              <a:defRPr sz="4031"/>
            </a:lvl2pPr>
            <a:lvl3pPr marL="1316553" indent="0">
              <a:buNone/>
              <a:defRPr sz="3456"/>
            </a:lvl3pPr>
            <a:lvl4pPr marL="1974830" indent="0">
              <a:buNone/>
              <a:defRPr sz="2880"/>
            </a:lvl4pPr>
            <a:lvl5pPr marL="2633106" indent="0">
              <a:buNone/>
              <a:defRPr sz="2880"/>
            </a:lvl5pPr>
            <a:lvl6pPr marL="3291383" indent="0">
              <a:buNone/>
              <a:defRPr sz="2880"/>
            </a:lvl6pPr>
            <a:lvl7pPr marL="3949659" indent="0">
              <a:buNone/>
              <a:defRPr sz="2880"/>
            </a:lvl7pPr>
            <a:lvl8pPr marL="4607936" indent="0">
              <a:buNone/>
              <a:defRPr sz="2880"/>
            </a:lvl8pPr>
            <a:lvl9pPr marL="5266212" indent="0">
              <a:buNone/>
              <a:defRPr sz="2880"/>
            </a:lvl9pPr>
          </a:lstStyle>
          <a:p>
            <a:endParaRPr lang="es-PE"/>
          </a:p>
        </p:txBody>
      </p:sp>
      <p:sp>
        <p:nvSpPr>
          <p:cNvPr id="4" name="Marcador de texto 3">
            <a:extLst>
              <a:ext uri="{FF2B5EF4-FFF2-40B4-BE49-F238E27FC236}">
                <a16:creationId xmlns:a16="http://schemas.microsoft.com/office/drawing/2014/main" id="{D8854632-3E72-4990-A3E7-BA80E343AE58}"/>
              </a:ext>
            </a:extLst>
          </p:cNvPr>
          <p:cNvSpPr>
            <a:spLocks noGrp="1"/>
          </p:cNvSpPr>
          <p:nvPr>
            <p:ph type="body" sz="half" idx="2"/>
          </p:nvPr>
        </p:nvSpPr>
        <p:spPr>
          <a:xfrm>
            <a:off x="1209383" y="2962275"/>
            <a:ext cx="5662831" cy="5487981"/>
          </a:xfrm>
        </p:spPr>
        <p:txBody>
          <a:bodyPr/>
          <a:lstStyle>
            <a:lvl1pPr marL="0" indent="0">
              <a:buNone/>
              <a:defRPr sz="2304"/>
            </a:lvl1pPr>
            <a:lvl2pPr marL="658277" indent="0">
              <a:buNone/>
              <a:defRPr sz="2016"/>
            </a:lvl2pPr>
            <a:lvl3pPr marL="1316553" indent="0">
              <a:buNone/>
              <a:defRPr sz="1728"/>
            </a:lvl3pPr>
            <a:lvl4pPr marL="1974830" indent="0">
              <a:buNone/>
              <a:defRPr sz="1440"/>
            </a:lvl4pPr>
            <a:lvl5pPr marL="2633106" indent="0">
              <a:buNone/>
              <a:defRPr sz="1440"/>
            </a:lvl5pPr>
            <a:lvl6pPr marL="3291383" indent="0">
              <a:buNone/>
              <a:defRPr sz="1440"/>
            </a:lvl6pPr>
            <a:lvl7pPr marL="3949659" indent="0">
              <a:buNone/>
              <a:defRPr sz="1440"/>
            </a:lvl7pPr>
            <a:lvl8pPr marL="4607936" indent="0">
              <a:buNone/>
              <a:defRPr sz="1440"/>
            </a:lvl8pPr>
            <a:lvl9pPr marL="5266212" indent="0">
              <a:buNone/>
              <a:defRPr sz="144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35C27D1F-3A60-41EA-9B8F-80C50E60C595}"/>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6" name="Marcador de pie de página 5">
            <a:extLst>
              <a:ext uri="{FF2B5EF4-FFF2-40B4-BE49-F238E27FC236}">
                <a16:creationId xmlns:a16="http://schemas.microsoft.com/office/drawing/2014/main" id="{B2BBEC4B-DBA1-4E77-8801-33ED5BAA707E}"/>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5391D21B-6E99-412E-8FE4-E085587DAE12}"/>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42842720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82A6306-FBF4-45AB-8811-BB7D962962BA}"/>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texto vertical 2">
            <a:extLst>
              <a:ext uri="{FF2B5EF4-FFF2-40B4-BE49-F238E27FC236}">
                <a16:creationId xmlns:a16="http://schemas.microsoft.com/office/drawing/2014/main" id="{1E60B55C-A03E-48B1-A679-06CC88572477}"/>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09EF7231-B844-4291-BD0B-4477130D8FB0}"/>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5" name="Marcador de pie de página 4">
            <a:extLst>
              <a:ext uri="{FF2B5EF4-FFF2-40B4-BE49-F238E27FC236}">
                <a16:creationId xmlns:a16="http://schemas.microsoft.com/office/drawing/2014/main" id="{AEBEDB75-256B-4D5A-86F4-14235BF594D9}"/>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7BEBB677-3F5C-4EEC-B143-5B1A5222C4BA}"/>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33094762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9E2E6C08-94FA-4A51-A0EF-AEE5B85539FE}"/>
              </a:ext>
            </a:extLst>
          </p:cNvPr>
          <p:cNvSpPr>
            <a:spLocks noGrp="1"/>
          </p:cNvSpPr>
          <p:nvPr>
            <p:ph type="title" orient="vert"/>
          </p:nvPr>
        </p:nvSpPr>
        <p:spPr>
          <a:xfrm>
            <a:off x="12564765" y="525713"/>
            <a:ext cx="3785890" cy="8367970"/>
          </a:xfrm>
        </p:spPr>
        <p:txBody>
          <a:bodyPr vert="eaVert"/>
          <a:lstStyle/>
          <a:p>
            <a:r>
              <a:rPr lang="es-ES"/>
              <a:t>Haga clic para modificar el estilo de título del patrón</a:t>
            </a:r>
            <a:endParaRPr lang="es-PE"/>
          </a:p>
        </p:txBody>
      </p:sp>
      <p:sp>
        <p:nvSpPr>
          <p:cNvPr id="3" name="Marcador de texto vertical 2">
            <a:extLst>
              <a:ext uri="{FF2B5EF4-FFF2-40B4-BE49-F238E27FC236}">
                <a16:creationId xmlns:a16="http://schemas.microsoft.com/office/drawing/2014/main" id="{BE5D81DA-E07B-4985-A53C-85EA1B9311B8}"/>
              </a:ext>
            </a:extLst>
          </p:cNvPr>
          <p:cNvSpPr>
            <a:spLocks noGrp="1"/>
          </p:cNvSpPr>
          <p:nvPr>
            <p:ph type="body" orient="vert" idx="1"/>
          </p:nvPr>
        </p:nvSpPr>
        <p:spPr>
          <a:xfrm>
            <a:off x="1207095" y="525713"/>
            <a:ext cx="11138198" cy="8367970"/>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75AE12C1-E9D4-4FBB-988F-8970D3E9EAD4}"/>
              </a:ext>
            </a:extLst>
          </p:cNvPr>
          <p:cNvSpPr>
            <a:spLocks noGrp="1"/>
          </p:cNvSpPr>
          <p:nvPr>
            <p:ph type="dt" sz="half" idx="10"/>
          </p:nvPr>
        </p:nvSpPr>
        <p:spPr/>
        <p:txBody>
          <a:bodyPr/>
          <a:lstStyle/>
          <a:p>
            <a:fld id="{0532C7C8-43EA-4AD0-842A-5D130A536B1C}" type="datetimeFigureOut">
              <a:rPr lang="es-PE" smtClean="0"/>
              <a:t>9/09/2024</a:t>
            </a:fld>
            <a:endParaRPr lang="es-PE"/>
          </a:p>
        </p:txBody>
      </p:sp>
      <p:sp>
        <p:nvSpPr>
          <p:cNvPr id="5" name="Marcador de pie de página 4">
            <a:extLst>
              <a:ext uri="{FF2B5EF4-FFF2-40B4-BE49-F238E27FC236}">
                <a16:creationId xmlns:a16="http://schemas.microsoft.com/office/drawing/2014/main" id="{DD831224-B8DC-4C66-9A8E-907BCBD7C0E8}"/>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79AE39DB-5B33-4CC8-B5A7-46E017DD6752}"/>
              </a:ext>
            </a:extLst>
          </p:cNvPr>
          <p:cNvSpPr>
            <a:spLocks noGrp="1"/>
          </p:cNvSpPr>
          <p:nvPr>
            <p:ph type="sldNum" sz="quarter" idx="12"/>
          </p:nvPr>
        </p:nvSpPr>
        <p:spPr/>
        <p:txBody>
          <a:bodyPr/>
          <a:lstStyle/>
          <a:p>
            <a:fld id="{55FCBF1D-AF93-4A0E-BBF5-3ADEBD3E923C}" type="slidenum">
              <a:rPr lang="es-PE" smtClean="0"/>
              <a:t>‹Nº›</a:t>
            </a:fld>
            <a:endParaRPr lang="es-PE"/>
          </a:p>
        </p:txBody>
      </p:sp>
    </p:spTree>
    <p:extLst>
      <p:ext uri="{BB962C8B-B14F-4D97-AF65-F5344CB8AC3E}">
        <p14:creationId xmlns:p14="http://schemas.microsoft.com/office/powerpoint/2010/main" val="717614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07095" y="2628562"/>
            <a:ext cx="7462044" cy="62651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8888611" y="2628562"/>
            <a:ext cx="7462044" cy="62651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BFFD8FEF-A23D-FAE7-6A0B-B89E318FB517}"/>
              </a:ext>
            </a:extLst>
          </p:cNvPr>
          <p:cNvSpPr>
            <a:spLocks noGrp="1"/>
          </p:cNvSpPr>
          <p:nvPr>
            <p:ph type="dt" sz="half" idx="10"/>
          </p:nvPr>
        </p:nvSpPr>
        <p:spPr/>
        <p:txBody>
          <a:bodyPr/>
          <a:lstStyle>
            <a:lvl1pPr>
              <a:defRPr/>
            </a:lvl1pPr>
          </a:lstStyle>
          <a:p>
            <a:pPr>
              <a:defRPr/>
            </a:pPr>
            <a:fld id="{DC7A063E-0E53-4C50-9D18-8DDFCA183114}" type="datetimeFigureOut">
              <a:rPr lang="en-US"/>
              <a:pPr>
                <a:defRPr/>
              </a:pPr>
              <a:t>9/9/2024</a:t>
            </a:fld>
            <a:endParaRPr lang="en-US"/>
          </a:p>
        </p:txBody>
      </p:sp>
      <p:sp>
        <p:nvSpPr>
          <p:cNvPr id="6" name="Footer Placeholder 4">
            <a:extLst>
              <a:ext uri="{FF2B5EF4-FFF2-40B4-BE49-F238E27FC236}">
                <a16:creationId xmlns:a16="http://schemas.microsoft.com/office/drawing/2014/main" id="{AA4577F5-35CB-3E56-1AA3-F139D708DEC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7AC441C-72F7-1380-F34F-B0F91E30B0FC}"/>
              </a:ext>
            </a:extLst>
          </p:cNvPr>
          <p:cNvSpPr>
            <a:spLocks noGrp="1"/>
          </p:cNvSpPr>
          <p:nvPr>
            <p:ph type="sldNum" sz="quarter" idx="12"/>
          </p:nvPr>
        </p:nvSpPr>
        <p:spPr/>
        <p:txBody>
          <a:bodyPr/>
          <a:lstStyle>
            <a:lvl1pPr>
              <a:defRPr/>
            </a:lvl1pPr>
          </a:lstStyle>
          <a:p>
            <a:fld id="{83156F1B-B84A-4B27-A707-77889A8E994E}" type="slidenum">
              <a:rPr lang="en-US" altLang="en-US"/>
              <a:pPr/>
              <a:t>‹Nº›</a:t>
            </a:fld>
            <a:endParaRPr lang="en-US" altLang="en-US"/>
          </a:p>
        </p:txBody>
      </p:sp>
    </p:spTree>
    <p:extLst>
      <p:ext uri="{BB962C8B-B14F-4D97-AF65-F5344CB8AC3E}">
        <p14:creationId xmlns:p14="http://schemas.microsoft.com/office/powerpoint/2010/main" val="1564536915"/>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09382" y="525713"/>
            <a:ext cx="15143559" cy="1908565"/>
          </a:xfrm>
        </p:spPr>
        <p:txBody>
          <a:bodyPr/>
          <a:lstStyle/>
          <a:p>
            <a:r>
              <a:rPr lang="en-US"/>
              <a:t>Click to edit Master title style</a:t>
            </a:r>
            <a:endParaRPr lang="en-US" dirty="0"/>
          </a:p>
        </p:txBody>
      </p:sp>
      <p:sp>
        <p:nvSpPr>
          <p:cNvPr id="3" name="Text Placeholder 2"/>
          <p:cNvSpPr>
            <a:spLocks noGrp="1"/>
          </p:cNvSpPr>
          <p:nvPr>
            <p:ph type="body" idx="1"/>
          </p:nvPr>
        </p:nvSpPr>
        <p:spPr>
          <a:xfrm>
            <a:off x="1209383" y="2420563"/>
            <a:ext cx="7427751" cy="1186281"/>
          </a:xfrm>
        </p:spPr>
        <p:txBody>
          <a:bodyPr anchor="b"/>
          <a:lstStyle>
            <a:lvl1pPr marL="0" indent="0">
              <a:buNone/>
              <a:defRPr sz="3456" b="1"/>
            </a:lvl1pPr>
            <a:lvl2pPr marL="658277" indent="0">
              <a:buNone/>
              <a:defRPr sz="2880" b="1"/>
            </a:lvl2pPr>
            <a:lvl3pPr marL="1316553" indent="0">
              <a:buNone/>
              <a:defRPr sz="2592" b="1"/>
            </a:lvl3pPr>
            <a:lvl4pPr marL="1974830" indent="0">
              <a:buNone/>
              <a:defRPr sz="2304" b="1"/>
            </a:lvl4pPr>
            <a:lvl5pPr marL="2633106" indent="0">
              <a:buNone/>
              <a:defRPr sz="2304" b="1"/>
            </a:lvl5pPr>
            <a:lvl6pPr marL="3291383" indent="0">
              <a:buNone/>
              <a:defRPr sz="2304" b="1"/>
            </a:lvl6pPr>
            <a:lvl7pPr marL="3949659" indent="0">
              <a:buNone/>
              <a:defRPr sz="2304" b="1"/>
            </a:lvl7pPr>
            <a:lvl8pPr marL="4607936" indent="0">
              <a:buNone/>
              <a:defRPr sz="2304" b="1"/>
            </a:lvl8pPr>
            <a:lvl9pPr marL="5266212" indent="0">
              <a:buNone/>
              <a:defRPr sz="2304" b="1"/>
            </a:lvl9pPr>
          </a:lstStyle>
          <a:p>
            <a:pPr lvl="0"/>
            <a:r>
              <a:rPr lang="en-US"/>
              <a:t>Click to edit Master text styles</a:t>
            </a:r>
          </a:p>
        </p:txBody>
      </p:sp>
      <p:sp>
        <p:nvSpPr>
          <p:cNvPr id="4" name="Content Placeholder 3"/>
          <p:cNvSpPr>
            <a:spLocks noGrp="1"/>
          </p:cNvSpPr>
          <p:nvPr>
            <p:ph sz="half" idx="2"/>
          </p:nvPr>
        </p:nvSpPr>
        <p:spPr>
          <a:xfrm>
            <a:off x="1209383" y="3606844"/>
            <a:ext cx="7427751" cy="53051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8888611" y="2420563"/>
            <a:ext cx="7464331" cy="1186281"/>
          </a:xfrm>
        </p:spPr>
        <p:txBody>
          <a:bodyPr anchor="b"/>
          <a:lstStyle>
            <a:lvl1pPr marL="0" indent="0">
              <a:buNone/>
              <a:defRPr sz="3456" b="1"/>
            </a:lvl1pPr>
            <a:lvl2pPr marL="658277" indent="0">
              <a:buNone/>
              <a:defRPr sz="2880" b="1"/>
            </a:lvl2pPr>
            <a:lvl3pPr marL="1316553" indent="0">
              <a:buNone/>
              <a:defRPr sz="2592" b="1"/>
            </a:lvl3pPr>
            <a:lvl4pPr marL="1974830" indent="0">
              <a:buNone/>
              <a:defRPr sz="2304" b="1"/>
            </a:lvl4pPr>
            <a:lvl5pPr marL="2633106" indent="0">
              <a:buNone/>
              <a:defRPr sz="2304" b="1"/>
            </a:lvl5pPr>
            <a:lvl6pPr marL="3291383" indent="0">
              <a:buNone/>
              <a:defRPr sz="2304" b="1"/>
            </a:lvl6pPr>
            <a:lvl7pPr marL="3949659" indent="0">
              <a:buNone/>
              <a:defRPr sz="2304" b="1"/>
            </a:lvl7pPr>
            <a:lvl8pPr marL="4607936" indent="0">
              <a:buNone/>
              <a:defRPr sz="2304" b="1"/>
            </a:lvl8pPr>
            <a:lvl9pPr marL="5266212" indent="0">
              <a:buNone/>
              <a:defRPr sz="2304" b="1"/>
            </a:lvl9pPr>
          </a:lstStyle>
          <a:p>
            <a:pPr lvl="0"/>
            <a:r>
              <a:rPr lang="en-US"/>
              <a:t>Click to edit Master text styles</a:t>
            </a:r>
          </a:p>
        </p:txBody>
      </p:sp>
      <p:sp>
        <p:nvSpPr>
          <p:cNvPr id="6" name="Content Placeholder 5"/>
          <p:cNvSpPr>
            <a:spLocks noGrp="1"/>
          </p:cNvSpPr>
          <p:nvPr>
            <p:ph sz="quarter" idx="4"/>
          </p:nvPr>
        </p:nvSpPr>
        <p:spPr>
          <a:xfrm>
            <a:off x="8888611" y="3606844"/>
            <a:ext cx="7464331" cy="53051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a:extLst>
              <a:ext uri="{FF2B5EF4-FFF2-40B4-BE49-F238E27FC236}">
                <a16:creationId xmlns:a16="http://schemas.microsoft.com/office/drawing/2014/main" id="{45064FE4-3F97-FD75-BC4F-FD329779870B}"/>
              </a:ext>
            </a:extLst>
          </p:cNvPr>
          <p:cNvSpPr>
            <a:spLocks noGrp="1"/>
          </p:cNvSpPr>
          <p:nvPr>
            <p:ph type="dt" sz="half" idx="10"/>
          </p:nvPr>
        </p:nvSpPr>
        <p:spPr/>
        <p:txBody>
          <a:bodyPr/>
          <a:lstStyle>
            <a:lvl1pPr>
              <a:defRPr/>
            </a:lvl1pPr>
          </a:lstStyle>
          <a:p>
            <a:pPr>
              <a:defRPr/>
            </a:pPr>
            <a:fld id="{989F8DDD-41FA-449A-AD43-8D799671FCE1}" type="datetimeFigureOut">
              <a:rPr lang="en-US"/>
              <a:pPr>
                <a:defRPr/>
              </a:pPr>
              <a:t>9/9/2024</a:t>
            </a:fld>
            <a:endParaRPr lang="en-US"/>
          </a:p>
        </p:txBody>
      </p:sp>
      <p:sp>
        <p:nvSpPr>
          <p:cNvPr id="8" name="Footer Placeholder 4">
            <a:extLst>
              <a:ext uri="{FF2B5EF4-FFF2-40B4-BE49-F238E27FC236}">
                <a16:creationId xmlns:a16="http://schemas.microsoft.com/office/drawing/2014/main" id="{918352B4-C78A-F1E6-2A8D-BD52651227F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51D8560C-6E9B-53A8-A4AD-784483D33BAF}"/>
              </a:ext>
            </a:extLst>
          </p:cNvPr>
          <p:cNvSpPr>
            <a:spLocks noGrp="1"/>
          </p:cNvSpPr>
          <p:nvPr>
            <p:ph type="sldNum" sz="quarter" idx="12"/>
          </p:nvPr>
        </p:nvSpPr>
        <p:spPr/>
        <p:txBody>
          <a:bodyPr/>
          <a:lstStyle>
            <a:lvl1pPr>
              <a:defRPr/>
            </a:lvl1pPr>
          </a:lstStyle>
          <a:p>
            <a:fld id="{D6446B2F-5B22-4FDC-A2A7-575830DDF792}" type="slidenum">
              <a:rPr lang="en-US" altLang="en-US"/>
              <a:pPr/>
              <a:t>‹Nº›</a:t>
            </a:fld>
            <a:endParaRPr lang="en-US" altLang="en-US"/>
          </a:p>
        </p:txBody>
      </p:sp>
    </p:spTree>
    <p:extLst>
      <p:ext uri="{BB962C8B-B14F-4D97-AF65-F5344CB8AC3E}">
        <p14:creationId xmlns:p14="http://schemas.microsoft.com/office/powerpoint/2010/main" val="86293856"/>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a:extLst>
              <a:ext uri="{FF2B5EF4-FFF2-40B4-BE49-F238E27FC236}">
                <a16:creationId xmlns:a16="http://schemas.microsoft.com/office/drawing/2014/main" id="{7DCFCBDA-438A-2FE5-82AF-183D3B6A9AA6}"/>
              </a:ext>
            </a:extLst>
          </p:cNvPr>
          <p:cNvSpPr>
            <a:spLocks noGrp="1"/>
          </p:cNvSpPr>
          <p:nvPr>
            <p:ph type="dt" sz="half" idx="10"/>
          </p:nvPr>
        </p:nvSpPr>
        <p:spPr/>
        <p:txBody>
          <a:bodyPr/>
          <a:lstStyle>
            <a:lvl1pPr>
              <a:defRPr/>
            </a:lvl1pPr>
          </a:lstStyle>
          <a:p>
            <a:pPr>
              <a:defRPr/>
            </a:pPr>
            <a:fld id="{6CBFD4B4-7BE8-4CAF-8B08-38D30B46816C}" type="datetimeFigureOut">
              <a:rPr lang="en-US"/>
              <a:pPr>
                <a:defRPr/>
              </a:pPr>
              <a:t>9/9/2024</a:t>
            </a:fld>
            <a:endParaRPr lang="en-US"/>
          </a:p>
        </p:txBody>
      </p:sp>
      <p:sp>
        <p:nvSpPr>
          <p:cNvPr id="4" name="Footer Placeholder 4">
            <a:extLst>
              <a:ext uri="{FF2B5EF4-FFF2-40B4-BE49-F238E27FC236}">
                <a16:creationId xmlns:a16="http://schemas.microsoft.com/office/drawing/2014/main" id="{1BEF4CE4-5146-1518-64D9-E2E95F0F4183}"/>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86986E1B-3B35-1A14-D0B2-5F0E9410BFDD}"/>
              </a:ext>
            </a:extLst>
          </p:cNvPr>
          <p:cNvSpPr>
            <a:spLocks noGrp="1"/>
          </p:cNvSpPr>
          <p:nvPr>
            <p:ph type="sldNum" sz="quarter" idx="12"/>
          </p:nvPr>
        </p:nvSpPr>
        <p:spPr/>
        <p:txBody>
          <a:bodyPr/>
          <a:lstStyle>
            <a:lvl1pPr>
              <a:defRPr/>
            </a:lvl1pPr>
          </a:lstStyle>
          <a:p>
            <a:fld id="{E4D8864E-B2B0-465A-9ADE-2A355623ADEA}" type="slidenum">
              <a:rPr lang="en-US" altLang="en-US"/>
              <a:pPr/>
              <a:t>‹Nº›</a:t>
            </a:fld>
            <a:endParaRPr lang="en-US" altLang="en-US"/>
          </a:p>
        </p:txBody>
      </p:sp>
    </p:spTree>
    <p:extLst>
      <p:ext uri="{BB962C8B-B14F-4D97-AF65-F5344CB8AC3E}">
        <p14:creationId xmlns:p14="http://schemas.microsoft.com/office/powerpoint/2010/main" val="4289884276"/>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522A49C-9936-90FB-8F3C-358A49172FE5}"/>
              </a:ext>
            </a:extLst>
          </p:cNvPr>
          <p:cNvSpPr>
            <a:spLocks noGrp="1"/>
          </p:cNvSpPr>
          <p:nvPr>
            <p:ph type="dt" sz="half" idx="10"/>
          </p:nvPr>
        </p:nvSpPr>
        <p:spPr/>
        <p:txBody>
          <a:bodyPr/>
          <a:lstStyle>
            <a:lvl1pPr>
              <a:defRPr/>
            </a:lvl1pPr>
          </a:lstStyle>
          <a:p>
            <a:pPr>
              <a:defRPr/>
            </a:pPr>
            <a:fld id="{43B5A023-1A27-40A6-B0FB-CAF0A3F9E385}" type="datetimeFigureOut">
              <a:rPr lang="en-US"/>
              <a:pPr>
                <a:defRPr/>
              </a:pPr>
              <a:t>9/9/2024</a:t>
            </a:fld>
            <a:endParaRPr lang="en-US"/>
          </a:p>
        </p:txBody>
      </p:sp>
      <p:sp>
        <p:nvSpPr>
          <p:cNvPr id="3" name="Footer Placeholder 4">
            <a:extLst>
              <a:ext uri="{FF2B5EF4-FFF2-40B4-BE49-F238E27FC236}">
                <a16:creationId xmlns:a16="http://schemas.microsoft.com/office/drawing/2014/main" id="{16C43425-EA59-9861-D4CA-39C172298C83}"/>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EB87942A-AFD3-F0EB-67CD-83DC6943D7C1}"/>
              </a:ext>
            </a:extLst>
          </p:cNvPr>
          <p:cNvSpPr>
            <a:spLocks noGrp="1"/>
          </p:cNvSpPr>
          <p:nvPr>
            <p:ph type="sldNum" sz="quarter" idx="12"/>
          </p:nvPr>
        </p:nvSpPr>
        <p:spPr/>
        <p:txBody>
          <a:bodyPr/>
          <a:lstStyle>
            <a:lvl1pPr>
              <a:defRPr/>
            </a:lvl1pPr>
          </a:lstStyle>
          <a:p>
            <a:fld id="{7C946614-82C5-4576-ABFF-9CFA1D089CA1}" type="slidenum">
              <a:rPr lang="en-US" altLang="en-US"/>
              <a:pPr/>
              <a:t>‹Nº›</a:t>
            </a:fld>
            <a:endParaRPr lang="en-US" altLang="en-US"/>
          </a:p>
        </p:txBody>
      </p:sp>
    </p:spTree>
    <p:extLst>
      <p:ext uri="{BB962C8B-B14F-4D97-AF65-F5344CB8AC3E}">
        <p14:creationId xmlns:p14="http://schemas.microsoft.com/office/powerpoint/2010/main" val="3383190002"/>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09383" y="658283"/>
            <a:ext cx="5662831" cy="2303992"/>
          </a:xfrm>
        </p:spPr>
        <p:txBody>
          <a:bodyPr anchor="b"/>
          <a:lstStyle>
            <a:lvl1pPr>
              <a:defRPr sz="4607"/>
            </a:lvl1pPr>
          </a:lstStyle>
          <a:p>
            <a:r>
              <a:rPr lang="en-US"/>
              <a:t>Click to edit Master title style</a:t>
            </a:r>
            <a:endParaRPr lang="en-US" dirty="0"/>
          </a:p>
        </p:txBody>
      </p:sp>
      <p:sp>
        <p:nvSpPr>
          <p:cNvPr id="3" name="Content Placeholder 2"/>
          <p:cNvSpPr>
            <a:spLocks noGrp="1"/>
          </p:cNvSpPr>
          <p:nvPr>
            <p:ph idx="1"/>
          </p:nvPr>
        </p:nvSpPr>
        <p:spPr>
          <a:xfrm>
            <a:off x="7464331" y="1421710"/>
            <a:ext cx="8888611" cy="7017117"/>
          </a:xfrm>
        </p:spPr>
        <p:txBody>
          <a:bodyPr/>
          <a:lstStyle>
            <a:lvl1pPr>
              <a:defRPr sz="4607"/>
            </a:lvl1pPr>
            <a:lvl2pPr>
              <a:defRPr sz="4031"/>
            </a:lvl2pPr>
            <a:lvl3pPr>
              <a:defRPr sz="3456"/>
            </a:lvl3pPr>
            <a:lvl4pPr>
              <a:defRPr sz="2880"/>
            </a:lvl4pPr>
            <a:lvl5pPr>
              <a:defRPr sz="2880"/>
            </a:lvl5pPr>
            <a:lvl6pPr>
              <a:defRPr sz="2880"/>
            </a:lvl6pPr>
            <a:lvl7pPr>
              <a:defRPr sz="2880"/>
            </a:lvl7pPr>
            <a:lvl8pPr>
              <a:defRPr sz="2880"/>
            </a:lvl8pPr>
            <a:lvl9pPr>
              <a:defRPr sz="28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209383" y="2962275"/>
            <a:ext cx="5662831" cy="5487981"/>
          </a:xfrm>
        </p:spPr>
        <p:txBody>
          <a:bodyPr/>
          <a:lstStyle>
            <a:lvl1pPr marL="0" indent="0">
              <a:buNone/>
              <a:defRPr sz="2304"/>
            </a:lvl1pPr>
            <a:lvl2pPr marL="658277" indent="0">
              <a:buNone/>
              <a:defRPr sz="2016"/>
            </a:lvl2pPr>
            <a:lvl3pPr marL="1316553" indent="0">
              <a:buNone/>
              <a:defRPr sz="1728"/>
            </a:lvl3pPr>
            <a:lvl4pPr marL="1974830" indent="0">
              <a:buNone/>
              <a:defRPr sz="1440"/>
            </a:lvl4pPr>
            <a:lvl5pPr marL="2633106" indent="0">
              <a:buNone/>
              <a:defRPr sz="1440"/>
            </a:lvl5pPr>
            <a:lvl6pPr marL="3291383" indent="0">
              <a:buNone/>
              <a:defRPr sz="1440"/>
            </a:lvl6pPr>
            <a:lvl7pPr marL="3949659" indent="0">
              <a:buNone/>
              <a:defRPr sz="1440"/>
            </a:lvl7pPr>
            <a:lvl8pPr marL="4607936" indent="0">
              <a:buNone/>
              <a:defRPr sz="1440"/>
            </a:lvl8pPr>
            <a:lvl9pPr marL="5266212" indent="0">
              <a:buNone/>
              <a:defRPr sz="1440"/>
            </a:lvl9pPr>
          </a:lstStyle>
          <a:p>
            <a:pPr lvl="0"/>
            <a:r>
              <a:rPr lang="en-US"/>
              <a:t>Click to edit Master text styles</a:t>
            </a:r>
          </a:p>
        </p:txBody>
      </p:sp>
      <p:sp>
        <p:nvSpPr>
          <p:cNvPr id="5" name="Date Placeholder 3">
            <a:extLst>
              <a:ext uri="{FF2B5EF4-FFF2-40B4-BE49-F238E27FC236}">
                <a16:creationId xmlns:a16="http://schemas.microsoft.com/office/drawing/2014/main" id="{939349A1-D849-A34D-AE32-DC3034EB3C70}"/>
              </a:ext>
            </a:extLst>
          </p:cNvPr>
          <p:cNvSpPr>
            <a:spLocks noGrp="1"/>
          </p:cNvSpPr>
          <p:nvPr>
            <p:ph type="dt" sz="half" idx="10"/>
          </p:nvPr>
        </p:nvSpPr>
        <p:spPr/>
        <p:txBody>
          <a:bodyPr/>
          <a:lstStyle>
            <a:lvl1pPr>
              <a:defRPr/>
            </a:lvl1pPr>
          </a:lstStyle>
          <a:p>
            <a:pPr>
              <a:defRPr/>
            </a:pPr>
            <a:fld id="{4A8B1FB6-25E6-4A10-8009-333EF210588D}" type="datetimeFigureOut">
              <a:rPr lang="en-US"/>
              <a:pPr>
                <a:defRPr/>
              </a:pPr>
              <a:t>9/9/2024</a:t>
            </a:fld>
            <a:endParaRPr lang="en-US"/>
          </a:p>
        </p:txBody>
      </p:sp>
      <p:sp>
        <p:nvSpPr>
          <p:cNvPr id="6" name="Footer Placeholder 4">
            <a:extLst>
              <a:ext uri="{FF2B5EF4-FFF2-40B4-BE49-F238E27FC236}">
                <a16:creationId xmlns:a16="http://schemas.microsoft.com/office/drawing/2014/main" id="{4C77DA7B-E308-4B0B-31C2-7AAFA31343E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AEA3015-2A98-6820-2B74-B46AF7957BEF}"/>
              </a:ext>
            </a:extLst>
          </p:cNvPr>
          <p:cNvSpPr>
            <a:spLocks noGrp="1"/>
          </p:cNvSpPr>
          <p:nvPr>
            <p:ph type="sldNum" sz="quarter" idx="12"/>
          </p:nvPr>
        </p:nvSpPr>
        <p:spPr/>
        <p:txBody>
          <a:bodyPr/>
          <a:lstStyle>
            <a:lvl1pPr>
              <a:defRPr/>
            </a:lvl1pPr>
          </a:lstStyle>
          <a:p>
            <a:fld id="{27F4CC2D-891B-4358-91C5-D31AFBBD4BDD}" type="slidenum">
              <a:rPr lang="en-US" altLang="en-US"/>
              <a:pPr/>
              <a:t>‹Nº›</a:t>
            </a:fld>
            <a:endParaRPr lang="en-US" altLang="en-US"/>
          </a:p>
        </p:txBody>
      </p:sp>
    </p:spTree>
    <p:extLst>
      <p:ext uri="{BB962C8B-B14F-4D97-AF65-F5344CB8AC3E}">
        <p14:creationId xmlns:p14="http://schemas.microsoft.com/office/powerpoint/2010/main" val="3471282200"/>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09383" y="658283"/>
            <a:ext cx="5662831" cy="2303992"/>
          </a:xfrm>
        </p:spPr>
        <p:txBody>
          <a:bodyPr anchor="b"/>
          <a:lstStyle>
            <a:lvl1pPr>
              <a:defRPr sz="4607"/>
            </a:lvl1pPr>
          </a:lstStyle>
          <a:p>
            <a:r>
              <a:rPr lang="en-US"/>
              <a:t>Click to edit Master title style</a:t>
            </a:r>
            <a:endParaRPr lang="en-US" dirty="0"/>
          </a:p>
        </p:txBody>
      </p:sp>
      <p:sp>
        <p:nvSpPr>
          <p:cNvPr id="3" name="Picture Placeholder 2"/>
          <p:cNvSpPr>
            <a:spLocks noGrp="1" noChangeAspect="1"/>
          </p:cNvSpPr>
          <p:nvPr>
            <p:ph type="pic" idx="1"/>
          </p:nvPr>
        </p:nvSpPr>
        <p:spPr>
          <a:xfrm>
            <a:off x="7464331" y="1421710"/>
            <a:ext cx="8888611" cy="7017117"/>
          </a:xfrm>
        </p:spPr>
        <p:txBody>
          <a:bodyPr rtlCol="0">
            <a:normAutofit/>
          </a:bodyPr>
          <a:lstStyle>
            <a:lvl1pPr marL="0" indent="0">
              <a:buNone/>
              <a:defRPr sz="4607"/>
            </a:lvl1pPr>
            <a:lvl2pPr marL="658277" indent="0">
              <a:buNone/>
              <a:defRPr sz="4031"/>
            </a:lvl2pPr>
            <a:lvl3pPr marL="1316553" indent="0">
              <a:buNone/>
              <a:defRPr sz="3456"/>
            </a:lvl3pPr>
            <a:lvl4pPr marL="1974830" indent="0">
              <a:buNone/>
              <a:defRPr sz="2880"/>
            </a:lvl4pPr>
            <a:lvl5pPr marL="2633106" indent="0">
              <a:buNone/>
              <a:defRPr sz="2880"/>
            </a:lvl5pPr>
            <a:lvl6pPr marL="3291383" indent="0">
              <a:buNone/>
              <a:defRPr sz="2880"/>
            </a:lvl6pPr>
            <a:lvl7pPr marL="3949659" indent="0">
              <a:buNone/>
              <a:defRPr sz="2880"/>
            </a:lvl7pPr>
            <a:lvl8pPr marL="4607936" indent="0">
              <a:buNone/>
              <a:defRPr sz="2880"/>
            </a:lvl8pPr>
            <a:lvl9pPr marL="5266212" indent="0">
              <a:buNone/>
              <a:defRPr sz="288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1209383" y="2962275"/>
            <a:ext cx="5662831" cy="5487981"/>
          </a:xfrm>
        </p:spPr>
        <p:txBody>
          <a:bodyPr/>
          <a:lstStyle>
            <a:lvl1pPr marL="0" indent="0">
              <a:buNone/>
              <a:defRPr sz="2304"/>
            </a:lvl1pPr>
            <a:lvl2pPr marL="658277" indent="0">
              <a:buNone/>
              <a:defRPr sz="2016"/>
            </a:lvl2pPr>
            <a:lvl3pPr marL="1316553" indent="0">
              <a:buNone/>
              <a:defRPr sz="1728"/>
            </a:lvl3pPr>
            <a:lvl4pPr marL="1974830" indent="0">
              <a:buNone/>
              <a:defRPr sz="1440"/>
            </a:lvl4pPr>
            <a:lvl5pPr marL="2633106" indent="0">
              <a:buNone/>
              <a:defRPr sz="1440"/>
            </a:lvl5pPr>
            <a:lvl6pPr marL="3291383" indent="0">
              <a:buNone/>
              <a:defRPr sz="1440"/>
            </a:lvl6pPr>
            <a:lvl7pPr marL="3949659" indent="0">
              <a:buNone/>
              <a:defRPr sz="1440"/>
            </a:lvl7pPr>
            <a:lvl8pPr marL="4607936" indent="0">
              <a:buNone/>
              <a:defRPr sz="1440"/>
            </a:lvl8pPr>
            <a:lvl9pPr marL="5266212" indent="0">
              <a:buNone/>
              <a:defRPr sz="1440"/>
            </a:lvl9pPr>
          </a:lstStyle>
          <a:p>
            <a:pPr lvl="0"/>
            <a:r>
              <a:rPr lang="en-US"/>
              <a:t>Click to edit Master text styles</a:t>
            </a:r>
          </a:p>
        </p:txBody>
      </p:sp>
      <p:sp>
        <p:nvSpPr>
          <p:cNvPr id="5" name="Date Placeholder 3">
            <a:extLst>
              <a:ext uri="{FF2B5EF4-FFF2-40B4-BE49-F238E27FC236}">
                <a16:creationId xmlns:a16="http://schemas.microsoft.com/office/drawing/2014/main" id="{2A929E40-8E41-7E0B-CC51-90A452D105D9}"/>
              </a:ext>
            </a:extLst>
          </p:cNvPr>
          <p:cNvSpPr>
            <a:spLocks noGrp="1"/>
          </p:cNvSpPr>
          <p:nvPr>
            <p:ph type="dt" sz="half" idx="10"/>
          </p:nvPr>
        </p:nvSpPr>
        <p:spPr/>
        <p:txBody>
          <a:bodyPr/>
          <a:lstStyle>
            <a:lvl1pPr>
              <a:defRPr/>
            </a:lvl1pPr>
          </a:lstStyle>
          <a:p>
            <a:pPr>
              <a:defRPr/>
            </a:pPr>
            <a:fld id="{DFB3A885-240B-4FFE-B21D-23A1A1827882}" type="datetimeFigureOut">
              <a:rPr lang="en-US"/>
              <a:pPr>
                <a:defRPr/>
              </a:pPr>
              <a:t>9/9/2024</a:t>
            </a:fld>
            <a:endParaRPr lang="en-US"/>
          </a:p>
        </p:txBody>
      </p:sp>
      <p:sp>
        <p:nvSpPr>
          <p:cNvPr id="6" name="Footer Placeholder 4">
            <a:extLst>
              <a:ext uri="{FF2B5EF4-FFF2-40B4-BE49-F238E27FC236}">
                <a16:creationId xmlns:a16="http://schemas.microsoft.com/office/drawing/2014/main" id="{FCC092C8-20FE-87A4-BB20-F8C49A8BE14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235B929C-6048-4BB4-2072-F89CF28ECD4A}"/>
              </a:ext>
            </a:extLst>
          </p:cNvPr>
          <p:cNvSpPr>
            <a:spLocks noGrp="1"/>
          </p:cNvSpPr>
          <p:nvPr>
            <p:ph type="sldNum" sz="quarter" idx="12"/>
          </p:nvPr>
        </p:nvSpPr>
        <p:spPr/>
        <p:txBody>
          <a:bodyPr/>
          <a:lstStyle>
            <a:lvl1pPr>
              <a:defRPr/>
            </a:lvl1pPr>
          </a:lstStyle>
          <a:p>
            <a:fld id="{164837A7-3B79-45CC-A969-513C45ADA8C9}" type="slidenum">
              <a:rPr lang="en-US" altLang="en-US"/>
              <a:pPr/>
              <a:t>‹Nº›</a:t>
            </a:fld>
            <a:endParaRPr lang="en-US" altLang="en-US"/>
          </a:p>
        </p:txBody>
      </p:sp>
    </p:spTree>
    <p:extLst>
      <p:ext uri="{BB962C8B-B14F-4D97-AF65-F5344CB8AC3E}">
        <p14:creationId xmlns:p14="http://schemas.microsoft.com/office/powerpoint/2010/main" val="4079479752"/>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334CF83-3BEB-202A-7642-7D08092E5FF4}"/>
              </a:ext>
            </a:extLst>
          </p:cNvPr>
          <p:cNvSpPr>
            <a:spLocks noGrp="1" noChangeArrowheads="1"/>
          </p:cNvSpPr>
          <p:nvPr>
            <p:ph type="title"/>
          </p:nvPr>
        </p:nvSpPr>
        <p:spPr bwMode="auto">
          <a:xfrm>
            <a:off x="1206500" y="525463"/>
            <a:ext cx="15144750" cy="190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D29C5E48-E761-6552-B057-9ADE4BEA5429}"/>
              </a:ext>
            </a:extLst>
          </p:cNvPr>
          <p:cNvSpPr>
            <a:spLocks noGrp="1" noChangeArrowheads="1"/>
          </p:cNvSpPr>
          <p:nvPr>
            <p:ph type="body" idx="1"/>
          </p:nvPr>
        </p:nvSpPr>
        <p:spPr bwMode="auto">
          <a:xfrm>
            <a:off x="1206500" y="2628900"/>
            <a:ext cx="15144750" cy="626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1759F31D-4B25-91FC-E7D4-8BBEF2D867BB}"/>
              </a:ext>
            </a:extLst>
          </p:cNvPr>
          <p:cNvSpPr>
            <a:spLocks noGrp="1"/>
          </p:cNvSpPr>
          <p:nvPr>
            <p:ph type="dt" sz="half" idx="2"/>
          </p:nvPr>
        </p:nvSpPr>
        <p:spPr>
          <a:xfrm>
            <a:off x="1206500" y="9151938"/>
            <a:ext cx="3951288" cy="525462"/>
          </a:xfrm>
          <a:prstGeom prst="rect">
            <a:avLst/>
          </a:prstGeom>
        </p:spPr>
        <p:txBody>
          <a:bodyPr vert="horz" lIns="91440" tIns="45720" rIns="91440" bIns="45720" rtlCol="0" anchor="ctr"/>
          <a:lstStyle>
            <a:lvl1pPr algn="l" eaLnBrk="1" fontAlgn="auto" hangingPunct="1">
              <a:spcBef>
                <a:spcPts val="0"/>
              </a:spcBef>
              <a:spcAft>
                <a:spcPts val="0"/>
              </a:spcAft>
              <a:defRPr sz="1728">
                <a:solidFill>
                  <a:schemeClr val="tx1">
                    <a:tint val="75000"/>
                  </a:schemeClr>
                </a:solidFill>
                <a:latin typeface="+mn-lt"/>
                <a:cs typeface="+mn-cs"/>
              </a:defRPr>
            </a:lvl1pPr>
          </a:lstStyle>
          <a:p>
            <a:pPr>
              <a:defRPr/>
            </a:pPr>
            <a:fld id="{3B447B5E-918F-4887-B036-EC790C0533A7}" type="datetimeFigureOut">
              <a:rPr lang="en-US"/>
              <a:pPr>
                <a:defRPr/>
              </a:pPr>
              <a:t>9/9/2024</a:t>
            </a:fld>
            <a:endParaRPr lang="en-US"/>
          </a:p>
        </p:txBody>
      </p:sp>
      <p:sp>
        <p:nvSpPr>
          <p:cNvPr id="5" name="Footer Placeholder 4">
            <a:extLst>
              <a:ext uri="{FF2B5EF4-FFF2-40B4-BE49-F238E27FC236}">
                <a16:creationId xmlns:a16="http://schemas.microsoft.com/office/drawing/2014/main" id="{95A53CE6-8EA0-F8F4-27CE-9D68282D4B3D}"/>
              </a:ext>
            </a:extLst>
          </p:cNvPr>
          <p:cNvSpPr>
            <a:spLocks noGrp="1"/>
          </p:cNvSpPr>
          <p:nvPr>
            <p:ph type="ftr" sz="quarter" idx="3"/>
          </p:nvPr>
        </p:nvSpPr>
        <p:spPr>
          <a:xfrm>
            <a:off x="5816600" y="9151938"/>
            <a:ext cx="5924550" cy="525462"/>
          </a:xfrm>
          <a:prstGeom prst="rect">
            <a:avLst/>
          </a:prstGeom>
        </p:spPr>
        <p:txBody>
          <a:bodyPr vert="horz" lIns="91440" tIns="45720" rIns="91440" bIns="45720" rtlCol="0" anchor="ctr"/>
          <a:lstStyle>
            <a:lvl1pPr algn="ctr" eaLnBrk="1" fontAlgn="auto" hangingPunct="1">
              <a:spcBef>
                <a:spcPts val="0"/>
              </a:spcBef>
              <a:spcAft>
                <a:spcPts val="0"/>
              </a:spcAft>
              <a:defRPr sz="1728">
                <a:solidFill>
                  <a:schemeClr val="tx1">
                    <a:tint val="75000"/>
                  </a:scheme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D433FC7E-FBEC-B120-942E-ED5098FD2661}"/>
              </a:ext>
            </a:extLst>
          </p:cNvPr>
          <p:cNvSpPr>
            <a:spLocks noGrp="1"/>
          </p:cNvSpPr>
          <p:nvPr>
            <p:ph type="sldNum" sz="quarter" idx="4"/>
          </p:nvPr>
        </p:nvSpPr>
        <p:spPr>
          <a:xfrm>
            <a:off x="12399963" y="9151938"/>
            <a:ext cx="3951287" cy="525462"/>
          </a:xfrm>
          <a:prstGeom prst="rect">
            <a:avLst/>
          </a:prstGeom>
        </p:spPr>
        <p:txBody>
          <a:bodyPr vert="horz" wrap="square" lIns="91440" tIns="45720" rIns="91440" bIns="45720" numCol="1" anchor="ctr" anchorCtr="0" compatLnSpc="1">
            <a:prstTxWarp prst="textNoShape">
              <a:avLst/>
            </a:prstTxWarp>
          </a:bodyPr>
          <a:lstStyle>
            <a:lvl1pPr algn="r">
              <a:defRPr sz="1700">
                <a:solidFill>
                  <a:srgbClr val="898989"/>
                </a:solidFill>
              </a:defRPr>
            </a:lvl1pPr>
          </a:lstStyle>
          <a:p>
            <a:fld id="{8AC2ADEA-56CD-4587-94EB-E5C24F05D2F0}" type="slidenum">
              <a:rPr lang="en-US" altLang="en-US"/>
              <a:pPr/>
              <a:t>‹Nº›</a:t>
            </a:fld>
            <a:endParaRPr lang="en-US" altLang="en-US"/>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Lst>
  <p:transition spd="slow">
    <p:fade/>
  </p:transition>
  <p:txStyles>
    <p:titleStyle>
      <a:lvl1pPr algn="l" defTabSz="1316038" rtl="0" eaLnBrk="0" fontAlgn="base" hangingPunct="0">
        <a:lnSpc>
          <a:spcPct val="90000"/>
        </a:lnSpc>
        <a:spcBef>
          <a:spcPct val="0"/>
        </a:spcBef>
        <a:spcAft>
          <a:spcPct val="0"/>
        </a:spcAft>
        <a:defRPr sz="6300" kern="1200">
          <a:solidFill>
            <a:schemeClr val="tx1"/>
          </a:solidFill>
          <a:latin typeface="+mj-lt"/>
          <a:ea typeface="+mj-ea"/>
          <a:cs typeface="+mj-cs"/>
        </a:defRPr>
      </a:lvl1pPr>
      <a:lvl2pPr algn="l" defTabSz="1316038" rtl="0" eaLnBrk="0" fontAlgn="base" hangingPunct="0">
        <a:lnSpc>
          <a:spcPct val="90000"/>
        </a:lnSpc>
        <a:spcBef>
          <a:spcPct val="0"/>
        </a:spcBef>
        <a:spcAft>
          <a:spcPct val="0"/>
        </a:spcAft>
        <a:defRPr sz="6300">
          <a:solidFill>
            <a:schemeClr val="tx1"/>
          </a:solidFill>
          <a:latin typeface="Calibri Light" panose="020F0302020204030204" pitchFamily="34" charset="0"/>
        </a:defRPr>
      </a:lvl2pPr>
      <a:lvl3pPr algn="l" defTabSz="1316038" rtl="0" eaLnBrk="0" fontAlgn="base" hangingPunct="0">
        <a:lnSpc>
          <a:spcPct val="90000"/>
        </a:lnSpc>
        <a:spcBef>
          <a:spcPct val="0"/>
        </a:spcBef>
        <a:spcAft>
          <a:spcPct val="0"/>
        </a:spcAft>
        <a:defRPr sz="6300">
          <a:solidFill>
            <a:schemeClr val="tx1"/>
          </a:solidFill>
          <a:latin typeface="Calibri Light" panose="020F0302020204030204" pitchFamily="34" charset="0"/>
        </a:defRPr>
      </a:lvl3pPr>
      <a:lvl4pPr algn="l" defTabSz="1316038" rtl="0" eaLnBrk="0" fontAlgn="base" hangingPunct="0">
        <a:lnSpc>
          <a:spcPct val="90000"/>
        </a:lnSpc>
        <a:spcBef>
          <a:spcPct val="0"/>
        </a:spcBef>
        <a:spcAft>
          <a:spcPct val="0"/>
        </a:spcAft>
        <a:defRPr sz="6300">
          <a:solidFill>
            <a:schemeClr val="tx1"/>
          </a:solidFill>
          <a:latin typeface="Calibri Light" panose="020F0302020204030204" pitchFamily="34" charset="0"/>
        </a:defRPr>
      </a:lvl4pPr>
      <a:lvl5pPr algn="l" defTabSz="1316038" rtl="0" eaLnBrk="0" fontAlgn="base" hangingPunct="0">
        <a:lnSpc>
          <a:spcPct val="90000"/>
        </a:lnSpc>
        <a:spcBef>
          <a:spcPct val="0"/>
        </a:spcBef>
        <a:spcAft>
          <a:spcPct val="0"/>
        </a:spcAft>
        <a:defRPr sz="6300">
          <a:solidFill>
            <a:schemeClr val="tx1"/>
          </a:solidFill>
          <a:latin typeface="Calibri Light" panose="020F0302020204030204" pitchFamily="34" charset="0"/>
        </a:defRPr>
      </a:lvl5pPr>
      <a:lvl6pPr marL="457200" algn="l" defTabSz="1316038" rtl="0" fontAlgn="base">
        <a:lnSpc>
          <a:spcPct val="90000"/>
        </a:lnSpc>
        <a:spcBef>
          <a:spcPct val="0"/>
        </a:spcBef>
        <a:spcAft>
          <a:spcPct val="0"/>
        </a:spcAft>
        <a:defRPr sz="6300">
          <a:solidFill>
            <a:schemeClr val="tx1"/>
          </a:solidFill>
          <a:latin typeface="Calibri Light" panose="020F0302020204030204" pitchFamily="34" charset="0"/>
        </a:defRPr>
      </a:lvl6pPr>
      <a:lvl7pPr marL="914400" algn="l" defTabSz="1316038" rtl="0" fontAlgn="base">
        <a:lnSpc>
          <a:spcPct val="90000"/>
        </a:lnSpc>
        <a:spcBef>
          <a:spcPct val="0"/>
        </a:spcBef>
        <a:spcAft>
          <a:spcPct val="0"/>
        </a:spcAft>
        <a:defRPr sz="6300">
          <a:solidFill>
            <a:schemeClr val="tx1"/>
          </a:solidFill>
          <a:latin typeface="Calibri Light" panose="020F0302020204030204" pitchFamily="34" charset="0"/>
        </a:defRPr>
      </a:lvl7pPr>
      <a:lvl8pPr marL="1371600" algn="l" defTabSz="1316038" rtl="0" fontAlgn="base">
        <a:lnSpc>
          <a:spcPct val="90000"/>
        </a:lnSpc>
        <a:spcBef>
          <a:spcPct val="0"/>
        </a:spcBef>
        <a:spcAft>
          <a:spcPct val="0"/>
        </a:spcAft>
        <a:defRPr sz="6300">
          <a:solidFill>
            <a:schemeClr val="tx1"/>
          </a:solidFill>
          <a:latin typeface="Calibri Light" panose="020F0302020204030204" pitchFamily="34" charset="0"/>
        </a:defRPr>
      </a:lvl8pPr>
      <a:lvl9pPr marL="1828800" algn="l" defTabSz="1316038" rtl="0" fontAlgn="base">
        <a:lnSpc>
          <a:spcPct val="90000"/>
        </a:lnSpc>
        <a:spcBef>
          <a:spcPct val="0"/>
        </a:spcBef>
        <a:spcAft>
          <a:spcPct val="0"/>
        </a:spcAft>
        <a:defRPr sz="6300">
          <a:solidFill>
            <a:schemeClr val="tx1"/>
          </a:solidFill>
          <a:latin typeface="Calibri Light" panose="020F0302020204030204" pitchFamily="34" charset="0"/>
        </a:defRPr>
      </a:lvl9pPr>
    </p:titleStyle>
    <p:bodyStyle>
      <a:lvl1pPr marL="328613" indent="-328613" algn="l" defTabSz="1316038" rtl="0" eaLnBrk="0" fontAlgn="base" hangingPunct="0">
        <a:lnSpc>
          <a:spcPct val="90000"/>
        </a:lnSpc>
        <a:spcBef>
          <a:spcPts val="1438"/>
        </a:spcBef>
        <a:spcAft>
          <a:spcPct val="0"/>
        </a:spcAft>
        <a:buFont typeface="Arial" panose="020B0604020202020204" pitchFamily="34" charset="0"/>
        <a:buChar char="•"/>
        <a:defRPr sz="4000" kern="1200">
          <a:solidFill>
            <a:schemeClr val="tx1"/>
          </a:solidFill>
          <a:latin typeface="+mn-lt"/>
          <a:ea typeface="+mn-ea"/>
          <a:cs typeface="+mn-cs"/>
        </a:defRPr>
      </a:lvl1pPr>
      <a:lvl2pPr marL="985838" indent="-328613" algn="l" defTabSz="1316038" rtl="0" eaLnBrk="0" fontAlgn="base" hangingPunct="0">
        <a:lnSpc>
          <a:spcPct val="90000"/>
        </a:lnSpc>
        <a:spcBef>
          <a:spcPts val="725"/>
        </a:spcBef>
        <a:spcAft>
          <a:spcPct val="0"/>
        </a:spcAft>
        <a:buFont typeface="Arial" panose="020B0604020202020204" pitchFamily="34" charset="0"/>
        <a:buChar char="•"/>
        <a:defRPr sz="3400" kern="1200">
          <a:solidFill>
            <a:schemeClr val="tx1"/>
          </a:solidFill>
          <a:latin typeface="+mn-lt"/>
          <a:ea typeface="+mn-ea"/>
          <a:cs typeface="+mn-cs"/>
        </a:defRPr>
      </a:lvl2pPr>
      <a:lvl3pPr marL="1644650" indent="-328613" algn="l" defTabSz="1316038" rtl="0" eaLnBrk="0" fontAlgn="base" hangingPunct="0">
        <a:lnSpc>
          <a:spcPct val="90000"/>
        </a:lnSpc>
        <a:spcBef>
          <a:spcPts val="725"/>
        </a:spcBef>
        <a:spcAft>
          <a:spcPct val="0"/>
        </a:spcAft>
        <a:buFont typeface="Arial" panose="020B0604020202020204" pitchFamily="34" charset="0"/>
        <a:buChar char="•"/>
        <a:defRPr sz="2800" kern="1200">
          <a:solidFill>
            <a:schemeClr val="tx1"/>
          </a:solidFill>
          <a:latin typeface="+mn-lt"/>
          <a:ea typeface="+mn-ea"/>
          <a:cs typeface="+mn-cs"/>
        </a:defRPr>
      </a:lvl3pPr>
      <a:lvl4pPr marL="2303463" indent="-328613" algn="l" defTabSz="1316038" rtl="0" eaLnBrk="0" fontAlgn="base" hangingPunct="0">
        <a:lnSpc>
          <a:spcPct val="90000"/>
        </a:lnSpc>
        <a:spcBef>
          <a:spcPts val="725"/>
        </a:spcBef>
        <a:spcAft>
          <a:spcPct val="0"/>
        </a:spcAft>
        <a:buFont typeface="Arial" panose="020B0604020202020204" pitchFamily="34" charset="0"/>
        <a:buChar char="•"/>
        <a:defRPr sz="2500" kern="1200">
          <a:solidFill>
            <a:schemeClr val="tx1"/>
          </a:solidFill>
          <a:latin typeface="+mn-lt"/>
          <a:ea typeface="+mn-ea"/>
          <a:cs typeface="+mn-cs"/>
        </a:defRPr>
      </a:lvl4pPr>
      <a:lvl5pPr marL="2960688" indent="-328613" algn="l" defTabSz="1316038" rtl="0" eaLnBrk="0" fontAlgn="base" hangingPunct="0">
        <a:lnSpc>
          <a:spcPct val="90000"/>
        </a:lnSpc>
        <a:spcBef>
          <a:spcPts val="725"/>
        </a:spcBef>
        <a:spcAft>
          <a:spcPct val="0"/>
        </a:spcAft>
        <a:buFont typeface="Arial" panose="020B0604020202020204" pitchFamily="34" charset="0"/>
        <a:buChar char="•"/>
        <a:defRPr sz="2500" kern="1200">
          <a:solidFill>
            <a:schemeClr val="tx1"/>
          </a:solidFill>
          <a:latin typeface="+mn-lt"/>
          <a:ea typeface="+mn-ea"/>
          <a:cs typeface="+mn-cs"/>
        </a:defRPr>
      </a:lvl5pPr>
      <a:lvl6pPr marL="3620521"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6pPr>
      <a:lvl7pPr marL="4278798"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7pPr>
      <a:lvl8pPr marL="4937074"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8pPr>
      <a:lvl9pPr marL="5595351"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9pPr>
    </p:bodyStyle>
    <p:otherStyle>
      <a:defPPr>
        <a:defRPr lang="en-US"/>
      </a:defPPr>
      <a:lvl1pPr marL="0" algn="l" defTabSz="1316553" rtl="0" eaLnBrk="1" latinLnBrk="0" hangingPunct="1">
        <a:defRPr sz="2592" kern="1200">
          <a:solidFill>
            <a:schemeClr val="tx1"/>
          </a:solidFill>
          <a:latin typeface="+mn-lt"/>
          <a:ea typeface="+mn-ea"/>
          <a:cs typeface="+mn-cs"/>
        </a:defRPr>
      </a:lvl1pPr>
      <a:lvl2pPr marL="658277" algn="l" defTabSz="1316553" rtl="0" eaLnBrk="1" latinLnBrk="0" hangingPunct="1">
        <a:defRPr sz="2592" kern="1200">
          <a:solidFill>
            <a:schemeClr val="tx1"/>
          </a:solidFill>
          <a:latin typeface="+mn-lt"/>
          <a:ea typeface="+mn-ea"/>
          <a:cs typeface="+mn-cs"/>
        </a:defRPr>
      </a:lvl2pPr>
      <a:lvl3pPr marL="1316553" algn="l" defTabSz="1316553" rtl="0" eaLnBrk="1" latinLnBrk="0" hangingPunct="1">
        <a:defRPr sz="2592" kern="1200">
          <a:solidFill>
            <a:schemeClr val="tx1"/>
          </a:solidFill>
          <a:latin typeface="+mn-lt"/>
          <a:ea typeface="+mn-ea"/>
          <a:cs typeface="+mn-cs"/>
        </a:defRPr>
      </a:lvl3pPr>
      <a:lvl4pPr marL="1974830" algn="l" defTabSz="1316553" rtl="0" eaLnBrk="1" latinLnBrk="0" hangingPunct="1">
        <a:defRPr sz="2592" kern="1200">
          <a:solidFill>
            <a:schemeClr val="tx1"/>
          </a:solidFill>
          <a:latin typeface="+mn-lt"/>
          <a:ea typeface="+mn-ea"/>
          <a:cs typeface="+mn-cs"/>
        </a:defRPr>
      </a:lvl4pPr>
      <a:lvl5pPr marL="2633106" algn="l" defTabSz="1316553" rtl="0" eaLnBrk="1" latinLnBrk="0" hangingPunct="1">
        <a:defRPr sz="2592" kern="1200">
          <a:solidFill>
            <a:schemeClr val="tx1"/>
          </a:solidFill>
          <a:latin typeface="+mn-lt"/>
          <a:ea typeface="+mn-ea"/>
          <a:cs typeface="+mn-cs"/>
        </a:defRPr>
      </a:lvl5pPr>
      <a:lvl6pPr marL="3291383" algn="l" defTabSz="1316553" rtl="0" eaLnBrk="1" latinLnBrk="0" hangingPunct="1">
        <a:defRPr sz="2592" kern="1200">
          <a:solidFill>
            <a:schemeClr val="tx1"/>
          </a:solidFill>
          <a:latin typeface="+mn-lt"/>
          <a:ea typeface="+mn-ea"/>
          <a:cs typeface="+mn-cs"/>
        </a:defRPr>
      </a:lvl6pPr>
      <a:lvl7pPr marL="3949659" algn="l" defTabSz="1316553" rtl="0" eaLnBrk="1" latinLnBrk="0" hangingPunct="1">
        <a:defRPr sz="2592" kern="1200">
          <a:solidFill>
            <a:schemeClr val="tx1"/>
          </a:solidFill>
          <a:latin typeface="+mn-lt"/>
          <a:ea typeface="+mn-ea"/>
          <a:cs typeface="+mn-cs"/>
        </a:defRPr>
      </a:lvl7pPr>
      <a:lvl8pPr marL="4607936" algn="l" defTabSz="1316553" rtl="0" eaLnBrk="1" latinLnBrk="0" hangingPunct="1">
        <a:defRPr sz="2592" kern="1200">
          <a:solidFill>
            <a:schemeClr val="tx1"/>
          </a:solidFill>
          <a:latin typeface="+mn-lt"/>
          <a:ea typeface="+mn-ea"/>
          <a:cs typeface="+mn-cs"/>
        </a:defRPr>
      </a:lvl8pPr>
      <a:lvl9pPr marL="5266212" algn="l" defTabSz="1316553" rtl="0" eaLnBrk="1" latinLnBrk="0" hangingPunct="1">
        <a:defRPr sz="259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5"/>
            </p:custDataLst>
            <p:extLst>
              <p:ext uri="{D42A27DB-BD31-4B8C-83A1-F6EECF244321}">
                <p14:modId xmlns:p14="http://schemas.microsoft.com/office/powerpoint/2010/main" val="2660405632"/>
              </p:ext>
            </p:extLst>
          </p:nvPr>
        </p:nvGraphicFramePr>
        <p:xfrm>
          <a:off x="2288" y="2287"/>
          <a:ext cx="2285" cy="2285"/>
        </p:xfrm>
        <a:graphic>
          <a:graphicData uri="http://schemas.openxmlformats.org/presentationml/2006/ole">
            <mc:AlternateContent xmlns:mc="http://schemas.openxmlformats.org/markup-compatibility/2006">
              <mc:Choice xmlns:v="urn:schemas-microsoft-com:vml" Requires="v">
                <p:oleObj name="Slide do think-cell" r:id="rId16" imgW="270" imgH="270" progId="TCLayout.ActiveDocument.1">
                  <p:embed/>
                </p:oleObj>
              </mc:Choice>
              <mc:Fallback>
                <p:oleObj name="Slide do think-cell" r:id="rId16" imgW="270" imgH="270" progId="TCLayout.ActiveDocument.1">
                  <p:embed/>
                  <p:pic>
                    <p:nvPicPr>
                      <p:cNvPr id="2" name="Objeto 1" hidden="1"/>
                      <p:cNvPicPr/>
                      <p:nvPr/>
                    </p:nvPicPr>
                    <p:blipFill>
                      <a:blip r:embed="rId17"/>
                      <a:stretch>
                        <a:fillRect/>
                      </a:stretch>
                    </p:blipFill>
                    <p:spPr>
                      <a:xfrm>
                        <a:off x="2288" y="2287"/>
                        <a:ext cx="2285" cy="2285"/>
                      </a:xfrm>
                      <a:prstGeom prst="rect">
                        <a:avLst/>
                      </a:prstGeom>
                    </p:spPr>
                  </p:pic>
                </p:oleObj>
              </mc:Fallback>
            </mc:AlternateContent>
          </a:graphicData>
        </a:graphic>
      </p:graphicFrame>
    </p:spTree>
    <p:extLst>
      <p:ext uri="{BB962C8B-B14F-4D97-AF65-F5344CB8AC3E}">
        <p14:creationId xmlns:p14="http://schemas.microsoft.com/office/powerpoint/2010/main" val="3877775525"/>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Lst>
  <p:hf hdr="0" ftr="0" dt="0"/>
  <p:txStyles>
    <p:titleStyle>
      <a:lvl1pPr algn="l" defTabSz="1316553" rtl="0" eaLnBrk="1" latinLnBrk="0" hangingPunct="1">
        <a:lnSpc>
          <a:spcPct val="90000"/>
        </a:lnSpc>
        <a:spcBef>
          <a:spcPct val="0"/>
        </a:spcBef>
        <a:buNone/>
        <a:defRPr sz="6335" b="0" i="0" kern="1200">
          <a:solidFill>
            <a:schemeClr val="tx1"/>
          </a:solidFill>
          <a:latin typeface="Verdana Regular" charset="0"/>
          <a:ea typeface="+mj-ea"/>
          <a:cs typeface="+mj-cs"/>
        </a:defRPr>
      </a:lvl1pPr>
    </p:titleStyle>
    <p:bodyStyle>
      <a:lvl1pPr marL="329138" indent="-329138" algn="l" defTabSz="1316553" rtl="0" eaLnBrk="1" latinLnBrk="0" hangingPunct="1">
        <a:lnSpc>
          <a:spcPct val="90000"/>
        </a:lnSpc>
        <a:spcBef>
          <a:spcPts val="1440"/>
        </a:spcBef>
        <a:buFont typeface="Arial" panose="020B0604020202020204" pitchFamily="34" charset="0"/>
        <a:buChar char="•"/>
        <a:defRPr sz="4031" b="0" i="0" kern="1200">
          <a:solidFill>
            <a:schemeClr val="tx1"/>
          </a:solidFill>
          <a:latin typeface="Verdana Regular" charset="0"/>
          <a:ea typeface="+mn-ea"/>
          <a:cs typeface="+mn-cs"/>
        </a:defRPr>
      </a:lvl1pPr>
      <a:lvl2pPr marL="987415" indent="-329138" algn="l" defTabSz="1316553" rtl="0" eaLnBrk="1" latinLnBrk="0" hangingPunct="1">
        <a:lnSpc>
          <a:spcPct val="90000"/>
        </a:lnSpc>
        <a:spcBef>
          <a:spcPts val="720"/>
        </a:spcBef>
        <a:buFont typeface="Arial" panose="020B0604020202020204" pitchFamily="34" charset="0"/>
        <a:buChar char="•"/>
        <a:defRPr sz="3456" b="0" i="0" kern="1200">
          <a:solidFill>
            <a:schemeClr val="tx1"/>
          </a:solidFill>
          <a:latin typeface="Verdana Regular" charset="0"/>
          <a:ea typeface="+mn-ea"/>
          <a:cs typeface="+mn-cs"/>
        </a:defRPr>
      </a:lvl2pPr>
      <a:lvl3pPr marL="1645691" indent="-329138" algn="l" defTabSz="1316553" rtl="0" eaLnBrk="1" latinLnBrk="0" hangingPunct="1">
        <a:lnSpc>
          <a:spcPct val="90000"/>
        </a:lnSpc>
        <a:spcBef>
          <a:spcPts val="720"/>
        </a:spcBef>
        <a:buFont typeface="Arial" panose="020B0604020202020204" pitchFamily="34" charset="0"/>
        <a:buChar char="•"/>
        <a:defRPr sz="2880" b="0" i="0" kern="1200">
          <a:solidFill>
            <a:schemeClr val="tx1"/>
          </a:solidFill>
          <a:latin typeface="Verdana Regular" charset="0"/>
          <a:ea typeface="+mn-ea"/>
          <a:cs typeface="+mn-cs"/>
        </a:defRPr>
      </a:lvl3pPr>
      <a:lvl4pPr marL="2303968" indent="-329138" algn="l" defTabSz="1316553" rtl="0" eaLnBrk="1" latinLnBrk="0" hangingPunct="1">
        <a:lnSpc>
          <a:spcPct val="90000"/>
        </a:lnSpc>
        <a:spcBef>
          <a:spcPts val="720"/>
        </a:spcBef>
        <a:buFont typeface="Arial" panose="020B0604020202020204" pitchFamily="34" charset="0"/>
        <a:buChar char="•"/>
        <a:defRPr sz="2592" b="0" i="0" kern="1200">
          <a:solidFill>
            <a:schemeClr val="tx1"/>
          </a:solidFill>
          <a:latin typeface="Verdana Regular" charset="0"/>
          <a:ea typeface="+mn-ea"/>
          <a:cs typeface="+mn-cs"/>
        </a:defRPr>
      </a:lvl4pPr>
      <a:lvl5pPr marL="2962245" indent="-329138" algn="l" defTabSz="1316553" rtl="0" eaLnBrk="1" latinLnBrk="0" hangingPunct="1">
        <a:lnSpc>
          <a:spcPct val="90000"/>
        </a:lnSpc>
        <a:spcBef>
          <a:spcPts val="720"/>
        </a:spcBef>
        <a:buFont typeface="Arial" panose="020B0604020202020204" pitchFamily="34" charset="0"/>
        <a:buChar char="•"/>
        <a:defRPr sz="2592" b="0" i="0" kern="1200">
          <a:solidFill>
            <a:schemeClr val="tx1"/>
          </a:solidFill>
          <a:latin typeface="Verdana Regular" charset="0"/>
          <a:ea typeface="+mn-ea"/>
          <a:cs typeface="+mn-cs"/>
        </a:defRPr>
      </a:lvl5pPr>
      <a:lvl6pPr marL="3620521"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6pPr>
      <a:lvl7pPr marL="4278798"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7pPr>
      <a:lvl8pPr marL="4937074"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8pPr>
      <a:lvl9pPr marL="5595351"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9pPr>
    </p:bodyStyle>
    <p:otherStyle>
      <a:defPPr>
        <a:defRPr lang="en-US"/>
      </a:defPPr>
      <a:lvl1pPr marL="0" algn="l" defTabSz="1316553" rtl="0" eaLnBrk="1" latinLnBrk="0" hangingPunct="1">
        <a:defRPr sz="2592" kern="1200">
          <a:solidFill>
            <a:schemeClr val="tx1"/>
          </a:solidFill>
          <a:latin typeface="+mn-lt"/>
          <a:ea typeface="+mn-ea"/>
          <a:cs typeface="+mn-cs"/>
        </a:defRPr>
      </a:lvl1pPr>
      <a:lvl2pPr marL="658277" algn="l" defTabSz="1316553" rtl="0" eaLnBrk="1" latinLnBrk="0" hangingPunct="1">
        <a:defRPr sz="2592" kern="1200">
          <a:solidFill>
            <a:schemeClr val="tx1"/>
          </a:solidFill>
          <a:latin typeface="+mn-lt"/>
          <a:ea typeface="+mn-ea"/>
          <a:cs typeface="+mn-cs"/>
        </a:defRPr>
      </a:lvl2pPr>
      <a:lvl3pPr marL="1316553" algn="l" defTabSz="1316553" rtl="0" eaLnBrk="1" latinLnBrk="0" hangingPunct="1">
        <a:defRPr sz="2592" kern="1200">
          <a:solidFill>
            <a:schemeClr val="tx1"/>
          </a:solidFill>
          <a:latin typeface="+mn-lt"/>
          <a:ea typeface="+mn-ea"/>
          <a:cs typeface="+mn-cs"/>
        </a:defRPr>
      </a:lvl3pPr>
      <a:lvl4pPr marL="1974830" algn="l" defTabSz="1316553" rtl="0" eaLnBrk="1" latinLnBrk="0" hangingPunct="1">
        <a:defRPr sz="2592" kern="1200">
          <a:solidFill>
            <a:schemeClr val="tx1"/>
          </a:solidFill>
          <a:latin typeface="+mn-lt"/>
          <a:ea typeface="+mn-ea"/>
          <a:cs typeface="+mn-cs"/>
        </a:defRPr>
      </a:lvl4pPr>
      <a:lvl5pPr marL="2633106" algn="l" defTabSz="1316553" rtl="0" eaLnBrk="1" latinLnBrk="0" hangingPunct="1">
        <a:defRPr sz="2592" kern="1200">
          <a:solidFill>
            <a:schemeClr val="tx1"/>
          </a:solidFill>
          <a:latin typeface="+mn-lt"/>
          <a:ea typeface="+mn-ea"/>
          <a:cs typeface="+mn-cs"/>
        </a:defRPr>
      </a:lvl5pPr>
      <a:lvl6pPr marL="3291383" algn="l" defTabSz="1316553" rtl="0" eaLnBrk="1" latinLnBrk="0" hangingPunct="1">
        <a:defRPr sz="2592" kern="1200">
          <a:solidFill>
            <a:schemeClr val="tx1"/>
          </a:solidFill>
          <a:latin typeface="+mn-lt"/>
          <a:ea typeface="+mn-ea"/>
          <a:cs typeface="+mn-cs"/>
        </a:defRPr>
      </a:lvl6pPr>
      <a:lvl7pPr marL="3949659" algn="l" defTabSz="1316553" rtl="0" eaLnBrk="1" latinLnBrk="0" hangingPunct="1">
        <a:defRPr sz="2592" kern="1200">
          <a:solidFill>
            <a:schemeClr val="tx1"/>
          </a:solidFill>
          <a:latin typeface="+mn-lt"/>
          <a:ea typeface="+mn-ea"/>
          <a:cs typeface="+mn-cs"/>
        </a:defRPr>
      </a:lvl7pPr>
      <a:lvl8pPr marL="4607936" algn="l" defTabSz="1316553" rtl="0" eaLnBrk="1" latinLnBrk="0" hangingPunct="1">
        <a:defRPr sz="2592" kern="1200">
          <a:solidFill>
            <a:schemeClr val="tx1"/>
          </a:solidFill>
          <a:latin typeface="+mn-lt"/>
          <a:ea typeface="+mn-ea"/>
          <a:cs typeface="+mn-cs"/>
        </a:defRPr>
      </a:lvl8pPr>
      <a:lvl9pPr marL="5266212" algn="l" defTabSz="1316553" rtl="0" eaLnBrk="1" latinLnBrk="0" hangingPunct="1">
        <a:defRPr sz="259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C9D32EE-65C8-4EE1-B6C3-FF9996F64F4F}"/>
              </a:ext>
            </a:extLst>
          </p:cNvPr>
          <p:cNvSpPr>
            <a:spLocks noGrp="1"/>
          </p:cNvSpPr>
          <p:nvPr>
            <p:ph type="title"/>
          </p:nvPr>
        </p:nvSpPr>
        <p:spPr>
          <a:xfrm>
            <a:off x="1207096" y="525713"/>
            <a:ext cx="15143559" cy="1908565"/>
          </a:xfrm>
          <a:prstGeom prst="rect">
            <a:avLst/>
          </a:prstGeom>
        </p:spPr>
        <p:txBody>
          <a:bodyPr vert="horz" lIns="91440" tIns="45720" rIns="91440" bIns="45720" rtlCol="0" anchor="ctr">
            <a:normAutofit/>
          </a:body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67095045-C001-4BFE-AB32-B4237B130F16}"/>
              </a:ext>
            </a:extLst>
          </p:cNvPr>
          <p:cNvSpPr>
            <a:spLocks noGrp="1"/>
          </p:cNvSpPr>
          <p:nvPr>
            <p:ph type="body" idx="1"/>
          </p:nvPr>
        </p:nvSpPr>
        <p:spPr>
          <a:xfrm>
            <a:off x="1207096" y="2628562"/>
            <a:ext cx="15143559" cy="6265121"/>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C3CEE3DA-7789-4E0A-8F94-8677ACECDE65}"/>
              </a:ext>
            </a:extLst>
          </p:cNvPr>
          <p:cNvSpPr>
            <a:spLocks noGrp="1"/>
          </p:cNvSpPr>
          <p:nvPr>
            <p:ph type="dt" sz="half" idx="2"/>
          </p:nvPr>
        </p:nvSpPr>
        <p:spPr>
          <a:xfrm>
            <a:off x="1207095" y="9151968"/>
            <a:ext cx="3950494" cy="525712"/>
          </a:xfrm>
          <a:prstGeom prst="rect">
            <a:avLst/>
          </a:prstGeom>
        </p:spPr>
        <p:txBody>
          <a:bodyPr vert="horz" lIns="91440" tIns="45720" rIns="91440" bIns="45720" rtlCol="0" anchor="ctr"/>
          <a:lstStyle>
            <a:lvl1pPr algn="l">
              <a:defRPr sz="1728">
                <a:solidFill>
                  <a:schemeClr val="tx1">
                    <a:tint val="75000"/>
                  </a:schemeClr>
                </a:solidFill>
              </a:defRPr>
            </a:lvl1pPr>
          </a:lstStyle>
          <a:p>
            <a:fld id="{0532C7C8-43EA-4AD0-842A-5D130A536B1C}" type="datetimeFigureOut">
              <a:rPr lang="es-PE" smtClean="0"/>
              <a:t>9/09/2024</a:t>
            </a:fld>
            <a:endParaRPr lang="es-PE"/>
          </a:p>
        </p:txBody>
      </p:sp>
      <p:sp>
        <p:nvSpPr>
          <p:cNvPr id="5" name="Marcador de pie de página 4">
            <a:extLst>
              <a:ext uri="{FF2B5EF4-FFF2-40B4-BE49-F238E27FC236}">
                <a16:creationId xmlns:a16="http://schemas.microsoft.com/office/drawing/2014/main" id="{28C660E5-401B-4CB4-9EC5-74396C151578}"/>
              </a:ext>
            </a:extLst>
          </p:cNvPr>
          <p:cNvSpPr>
            <a:spLocks noGrp="1"/>
          </p:cNvSpPr>
          <p:nvPr>
            <p:ph type="ftr" sz="quarter" idx="3"/>
          </p:nvPr>
        </p:nvSpPr>
        <p:spPr>
          <a:xfrm>
            <a:off x="5816005" y="9151968"/>
            <a:ext cx="5925741" cy="525712"/>
          </a:xfrm>
          <a:prstGeom prst="rect">
            <a:avLst/>
          </a:prstGeom>
        </p:spPr>
        <p:txBody>
          <a:bodyPr vert="horz" lIns="91440" tIns="45720" rIns="91440" bIns="45720" rtlCol="0" anchor="ctr"/>
          <a:lstStyle>
            <a:lvl1pPr algn="ctr">
              <a:defRPr sz="1728">
                <a:solidFill>
                  <a:schemeClr val="tx1">
                    <a:tint val="75000"/>
                  </a:schemeClr>
                </a:solidFill>
              </a:defRPr>
            </a:lvl1pPr>
          </a:lstStyle>
          <a:p>
            <a:endParaRPr lang="es-PE"/>
          </a:p>
        </p:txBody>
      </p:sp>
      <p:sp>
        <p:nvSpPr>
          <p:cNvPr id="6" name="Marcador de número de diapositiva 5">
            <a:extLst>
              <a:ext uri="{FF2B5EF4-FFF2-40B4-BE49-F238E27FC236}">
                <a16:creationId xmlns:a16="http://schemas.microsoft.com/office/drawing/2014/main" id="{ECCAF9FD-9244-4700-AEF2-6F4EE459E8B2}"/>
              </a:ext>
            </a:extLst>
          </p:cNvPr>
          <p:cNvSpPr>
            <a:spLocks noGrp="1"/>
          </p:cNvSpPr>
          <p:nvPr>
            <p:ph type="sldNum" sz="quarter" idx="4"/>
          </p:nvPr>
        </p:nvSpPr>
        <p:spPr>
          <a:xfrm>
            <a:off x="12400161" y="9151968"/>
            <a:ext cx="3950494" cy="525712"/>
          </a:xfrm>
          <a:prstGeom prst="rect">
            <a:avLst/>
          </a:prstGeom>
        </p:spPr>
        <p:txBody>
          <a:bodyPr vert="horz" lIns="91440" tIns="45720" rIns="91440" bIns="45720" rtlCol="0" anchor="ctr"/>
          <a:lstStyle>
            <a:lvl1pPr algn="r">
              <a:defRPr sz="1728">
                <a:solidFill>
                  <a:schemeClr val="tx1">
                    <a:tint val="75000"/>
                  </a:schemeClr>
                </a:solidFill>
              </a:defRPr>
            </a:lvl1pPr>
          </a:lstStyle>
          <a:p>
            <a:fld id="{55FCBF1D-AF93-4A0E-BBF5-3ADEBD3E923C}" type="slidenum">
              <a:rPr lang="es-PE" smtClean="0"/>
              <a:t>‹Nº›</a:t>
            </a:fld>
            <a:endParaRPr lang="es-PE"/>
          </a:p>
        </p:txBody>
      </p:sp>
    </p:spTree>
    <p:extLst>
      <p:ext uri="{BB962C8B-B14F-4D97-AF65-F5344CB8AC3E}">
        <p14:creationId xmlns:p14="http://schemas.microsoft.com/office/powerpoint/2010/main" val="388551383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defTabSz="1316553" rtl="0" eaLnBrk="1" latinLnBrk="0" hangingPunct="1">
        <a:lnSpc>
          <a:spcPct val="90000"/>
        </a:lnSpc>
        <a:spcBef>
          <a:spcPct val="0"/>
        </a:spcBef>
        <a:buNone/>
        <a:defRPr sz="6335" kern="1200">
          <a:solidFill>
            <a:schemeClr val="tx1"/>
          </a:solidFill>
          <a:latin typeface="+mj-lt"/>
          <a:ea typeface="+mj-ea"/>
          <a:cs typeface="+mj-cs"/>
        </a:defRPr>
      </a:lvl1pPr>
    </p:titleStyle>
    <p:bodyStyle>
      <a:lvl1pPr marL="329138" indent="-329138" algn="l" defTabSz="1316553" rtl="0" eaLnBrk="1" latinLnBrk="0" hangingPunct="1">
        <a:lnSpc>
          <a:spcPct val="90000"/>
        </a:lnSpc>
        <a:spcBef>
          <a:spcPts val="1440"/>
        </a:spcBef>
        <a:buFont typeface="Arial" panose="020B0604020202020204" pitchFamily="34" charset="0"/>
        <a:buChar char="•"/>
        <a:defRPr sz="4031" kern="1200">
          <a:solidFill>
            <a:schemeClr val="tx1"/>
          </a:solidFill>
          <a:latin typeface="+mn-lt"/>
          <a:ea typeface="+mn-ea"/>
          <a:cs typeface="+mn-cs"/>
        </a:defRPr>
      </a:lvl1pPr>
      <a:lvl2pPr marL="987415" indent="-329138" algn="l" defTabSz="1316553" rtl="0" eaLnBrk="1" latinLnBrk="0" hangingPunct="1">
        <a:lnSpc>
          <a:spcPct val="90000"/>
        </a:lnSpc>
        <a:spcBef>
          <a:spcPts val="720"/>
        </a:spcBef>
        <a:buFont typeface="Arial" panose="020B0604020202020204" pitchFamily="34" charset="0"/>
        <a:buChar char="•"/>
        <a:defRPr sz="3456" kern="1200">
          <a:solidFill>
            <a:schemeClr val="tx1"/>
          </a:solidFill>
          <a:latin typeface="+mn-lt"/>
          <a:ea typeface="+mn-ea"/>
          <a:cs typeface="+mn-cs"/>
        </a:defRPr>
      </a:lvl2pPr>
      <a:lvl3pPr marL="1645691" indent="-329138" algn="l" defTabSz="1316553" rtl="0" eaLnBrk="1" latinLnBrk="0" hangingPunct="1">
        <a:lnSpc>
          <a:spcPct val="90000"/>
        </a:lnSpc>
        <a:spcBef>
          <a:spcPts val="720"/>
        </a:spcBef>
        <a:buFont typeface="Arial" panose="020B0604020202020204" pitchFamily="34" charset="0"/>
        <a:buChar char="•"/>
        <a:defRPr sz="2880" kern="1200">
          <a:solidFill>
            <a:schemeClr val="tx1"/>
          </a:solidFill>
          <a:latin typeface="+mn-lt"/>
          <a:ea typeface="+mn-ea"/>
          <a:cs typeface="+mn-cs"/>
        </a:defRPr>
      </a:lvl3pPr>
      <a:lvl4pPr marL="2303968"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4pPr>
      <a:lvl5pPr marL="2962245"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5pPr>
      <a:lvl6pPr marL="3620521"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6pPr>
      <a:lvl7pPr marL="4278798"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7pPr>
      <a:lvl8pPr marL="4937074"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8pPr>
      <a:lvl9pPr marL="5595351" indent="-329138" algn="l" defTabSz="1316553" rtl="0" eaLnBrk="1" latinLnBrk="0" hangingPunct="1">
        <a:lnSpc>
          <a:spcPct val="90000"/>
        </a:lnSpc>
        <a:spcBef>
          <a:spcPts val="720"/>
        </a:spcBef>
        <a:buFont typeface="Arial" panose="020B0604020202020204" pitchFamily="34" charset="0"/>
        <a:buChar char="•"/>
        <a:defRPr sz="2592" kern="1200">
          <a:solidFill>
            <a:schemeClr val="tx1"/>
          </a:solidFill>
          <a:latin typeface="+mn-lt"/>
          <a:ea typeface="+mn-ea"/>
          <a:cs typeface="+mn-cs"/>
        </a:defRPr>
      </a:lvl9pPr>
    </p:bodyStyle>
    <p:otherStyle>
      <a:defPPr>
        <a:defRPr lang="es-PE"/>
      </a:defPPr>
      <a:lvl1pPr marL="0" algn="l" defTabSz="1316553" rtl="0" eaLnBrk="1" latinLnBrk="0" hangingPunct="1">
        <a:defRPr sz="2592" kern="1200">
          <a:solidFill>
            <a:schemeClr val="tx1"/>
          </a:solidFill>
          <a:latin typeface="+mn-lt"/>
          <a:ea typeface="+mn-ea"/>
          <a:cs typeface="+mn-cs"/>
        </a:defRPr>
      </a:lvl1pPr>
      <a:lvl2pPr marL="658277" algn="l" defTabSz="1316553" rtl="0" eaLnBrk="1" latinLnBrk="0" hangingPunct="1">
        <a:defRPr sz="2592" kern="1200">
          <a:solidFill>
            <a:schemeClr val="tx1"/>
          </a:solidFill>
          <a:latin typeface="+mn-lt"/>
          <a:ea typeface="+mn-ea"/>
          <a:cs typeface="+mn-cs"/>
        </a:defRPr>
      </a:lvl2pPr>
      <a:lvl3pPr marL="1316553" algn="l" defTabSz="1316553" rtl="0" eaLnBrk="1" latinLnBrk="0" hangingPunct="1">
        <a:defRPr sz="2592" kern="1200">
          <a:solidFill>
            <a:schemeClr val="tx1"/>
          </a:solidFill>
          <a:latin typeface="+mn-lt"/>
          <a:ea typeface="+mn-ea"/>
          <a:cs typeface="+mn-cs"/>
        </a:defRPr>
      </a:lvl3pPr>
      <a:lvl4pPr marL="1974830" algn="l" defTabSz="1316553" rtl="0" eaLnBrk="1" latinLnBrk="0" hangingPunct="1">
        <a:defRPr sz="2592" kern="1200">
          <a:solidFill>
            <a:schemeClr val="tx1"/>
          </a:solidFill>
          <a:latin typeface="+mn-lt"/>
          <a:ea typeface="+mn-ea"/>
          <a:cs typeface="+mn-cs"/>
        </a:defRPr>
      </a:lvl4pPr>
      <a:lvl5pPr marL="2633106" algn="l" defTabSz="1316553" rtl="0" eaLnBrk="1" latinLnBrk="0" hangingPunct="1">
        <a:defRPr sz="2592" kern="1200">
          <a:solidFill>
            <a:schemeClr val="tx1"/>
          </a:solidFill>
          <a:latin typeface="+mn-lt"/>
          <a:ea typeface="+mn-ea"/>
          <a:cs typeface="+mn-cs"/>
        </a:defRPr>
      </a:lvl5pPr>
      <a:lvl6pPr marL="3291383" algn="l" defTabSz="1316553" rtl="0" eaLnBrk="1" latinLnBrk="0" hangingPunct="1">
        <a:defRPr sz="2592" kern="1200">
          <a:solidFill>
            <a:schemeClr val="tx1"/>
          </a:solidFill>
          <a:latin typeface="+mn-lt"/>
          <a:ea typeface="+mn-ea"/>
          <a:cs typeface="+mn-cs"/>
        </a:defRPr>
      </a:lvl6pPr>
      <a:lvl7pPr marL="3949659" algn="l" defTabSz="1316553" rtl="0" eaLnBrk="1" latinLnBrk="0" hangingPunct="1">
        <a:defRPr sz="2592" kern="1200">
          <a:solidFill>
            <a:schemeClr val="tx1"/>
          </a:solidFill>
          <a:latin typeface="+mn-lt"/>
          <a:ea typeface="+mn-ea"/>
          <a:cs typeface="+mn-cs"/>
        </a:defRPr>
      </a:lvl7pPr>
      <a:lvl8pPr marL="4607936" algn="l" defTabSz="1316553" rtl="0" eaLnBrk="1" latinLnBrk="0" hangingPunct="1">
        <a:defRPr sz="2592" kern="1200">
          <a:solidFill>
            <a:schemeClr val="tx1"/>
          </a:solidFill>
          <a:latin typeface="+mn-lt"/>
          <a:ea typeface="+mn-ea"/>
          <a:cs typeface="+mn-cs"/>
        </a:defRPr>
      </a:lvl8pPr>
      <a:lvl9pPr marL="5266212" algn="l" defTabSz="1316553" rtl="0" eaLnBrk="1" latinLnBrk="0" hangingPunct="1">
        <a:defRPr sz="259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notesSlide" Target="../notesSlides/notesSlide6.xml"/><Relationship Id="rId7" Type="http://schemas.openxmlformats.org/officeDocument/2006/relationships/image" Target="../media/image66.png"/><Relationship Id="rId2" Type="http://schemas.openxmlformats.org/officeDocument/2006/relationships/slideLayout" Target="../slideLayouts/slideLayout23.xml"/><Relationship Id="rId1" Type="http://schemas.openxmlformats.org/officeDocument/2006/relationships/tags" Target="../tags/tag17.xml"/><Relationship Id="rId6" Type="http://schemas.openxmlformats.org/officeDocument/2006/relationships/image" Target="../media/image65.jpg"/><Relationship Id="rId5" Type="http://schemas.openxmlformats.org/officeDocument/2006/relationships/image" Target="../media/image2.emf"/><Relationship Id="rId4" Type="http://schemas.openxmlformats.org/officeDocument/2006/relationships/oleObject" Target="../embeddings/oleObject17.bin"/><Relationship Id="rId9" Type="http://schemas.openxmlformats.org/officeDocument/2006/relationships/image" Target="../media/image68.jpeg"/></Relationships>
</file>

<file path=ppt/slides/_rels/slide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71.png"/><Relationship Id="rId4" Type="http://schemas.openxmlformats.org/officeDocument/2006/relationships/image" Target="../media/image70.png"/></Relationships>
</file>

<file path=ppt/slides/_rels/slide13.xml.rels><?xml version="1.0" encoding="UTF-8" standalone="yes"?>
<Relationships xmlns="http://schemas.openxmlformats.org/package/2006/relationships"><Relationship Id="rId8" Type="http://schemas.openxmlformats.org/officeDocument/2006/relationships/image" Target="../media/image73.png"/><Relationship Id="rId13" Type="http://schemas.microsoft.com/office/2007/relationships/hdphoto" Target="../media/hdphoto3.wdp"/><Relationship Id="rId3" Type="http://schemas.openxmlformats.org/officeDocument/2006/relationships/image" Target="../media/image72.jpeg"/><Relationship Id="rId7" Type="http://schemas.openxmlformats.org/officeDocument/2006/relationships/chart" Target="../charts/chart4.xml"/><Relationship Id="rId12" Type="http://schemas.openxmlformats.org/officeDocument/2006/relationships/image" Target="../media/image75.png"/><Relationship Id="rId2" Type="http://schemas.openxmlformats.org/officeDocument/2006/relationships/notesSlide" Target="../notesSlides/notesSlide8.xml"/><Relationship Id="rId16" Type="http://schemas.openxmlformats.org/officeDocument/2006/relationships/image" Target="../media/image77.png"/><Relationship Id="rId1" Type="http://schemas.openxmlformats.org/officeDocument/2006/relationships/slideLayout" Target="../slideLayouts/slideLayout7.xml"/><Relationship Id="rId6" Type="http://schemas.openxmlformats.org/officeDocument/2006/relationships/chart" Target="../charts/chart3.xml"/><Relationship Id="rId11" Type="http://schemas.microsoft.com/office/2007/relationships/hdphoto" Target="../media/hdphoto2.wdp"/><Relationship Id="rId5" Type="http://schemas.openxmlformats.org/officeDocument/2006/relationships/chart" Target="../charts/chart2.xml"/><Relationship Id="rId15" Type="http://schemas.microsoft.com/office/2007/relationships/hdphoto" Target="../media/hdphoto4.wdp"/><Relationship Id="rId10" Type="http://schemas.openxmlformats.org/officeDocument/2006/relationships/image" Target="../media/image74.png"/><Relationship Id="rId4" Type="http://schemas.openxmlformats.org/officeDocument/2006/relationships/chart" Target="../charts/chart1.xml"/><Relationship Id="rId9" Type="http://schemas.microsoft.com/office/2007/relationships/hdphoto" Target="../media/hdphoto1.wdp"/><Relationship Id="rId14" Type="http://schemas.openxmlformats.org/officeDocument/2006/relationships/image" Target="../media/image76.png"/></Relationships>
</file>

<file path=ppt/slides/_rels/slide14.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2.jpeg"/><Relationship Id="rId7"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80.sv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png"/><Relationship Id="rId9" Type="http://schemas.openxmlformats.org/officeDocument/2006/relationships/image" Target="../media/image83.png"/></Relationships>
</file>

<file path=ppt/slides/_rels/slide15.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notesSlide" Target="../notesSlides/notesSlide10.xml"/><Relationship Id="rId7"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87.png"/><Relationship Id="rId11" Type="http://schemas.openxmlformats.org/officeDocument/2006/relationships/image" Target="../media/image91.png"/><Relationship Id="rId5" Type="http://schemas.openxmlformats.org/officeDocument/2006/relationships/image" Target="../media/image86.png"/><Relationship Id="rId10" Type="http://schemas.openxmlformats.org/officeDocument/2006/relationships/image" Target="../media/image90.png"/><Relationship Id="rId4" Type="http://schemas.openxmlformats.org/officeDocument/2006/relationships/image" Target="../media/image72.jpeg"/><Relationship Id="rId9" Type="http://schemas.openxmlformats.org/officeDocument/2006/relationships/image" Target="../media/image89.png"/></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71.png"/><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92.png"/></Relationships>
</file>

<file path=ppt/slides/_rels/slide1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93.png"/></Relationships>
</file>

<file path=ppt/slides/_rels/slide1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94.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95.png"/></Relationships>
</file>

<file path=ppt/slides/_rels/slide2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71.png"/><Relationship Id="rId4" Type="http://schemas.openxmlformats.org/officeDocument/2006/relationships/image" Target="../media/image70.png"/></Relationships>
</file>

<file path=ppt/slides/_rels/slide2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00.png"/><Relationship Id="rId4" Type="http://schemas.openxmlformats.org/officeDocument/2006/relationships/image" Target="../media/image99.png"/></Relationships>
</file>

<file path=ppt/slides/_rels/slide2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101.png"/><Relationship Id="rId4" Type="http://schemas.openxmlformats.org/officeDocument/2006/relationships/image" Target="../media/image86.png"/></Relationships>
</file>

<file path=ppt/slides/_rels/slide25.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102.png"/></Relationships>
</file>

<file path=ppt/slides/_rels/slide2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104.emf"/><Relationship Id="rId5" Type="http://schemas.openxmlformats.org/officeDocument/2006/relationships/package" Target="../embeddings/Microsoft_Excel_Worksheet.xlsx"/><Relationship Id="rId4" Type="http://schemas.openxmlformats.org/officeDocument/2006/relationships/image" Target="../media/image103.png"/></Relationships>
</file>

<file path=ppt/slides/_rels/slide2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chart" Target="../charts/chart5.xml"/><Relationship Id="rId4" Type="http://schemas.openxmlformats.org/officeDocument/2006/relationships/image" Target="../media/image16.png"/></Relationships>
</file>

<file path=ppt/slides/_rels/slide2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2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106.png"/></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image" Target="../media/image23.png"/><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25.png"/><Relationship Id="rId4" Type="http://schemas.openxmlformats.org/officeDocument/2006/relationships/image" Target="../media/image22.png"/></Relationships>
</file>

<file path=ppt/slides/_rels/slide3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3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4.pn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2.png"/><Relationship Id="rId11" Type="http://schemas.openxmlformats.org/officeDocument/2006/relationships/image" Target="../media/image31.png"/><Relationship Id="rId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image" Target="../media/image28.png"/><Relationship Id="rId9" Type="http://schemas.openxmlformats.org/officeDocument/2006/relationships/image" Target="../media/image30.png"/></Relationships>
</file>

<file path=ppt/slides/_rels/slide5.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image" Target="../media/image19.png"/><Relationship Id="rId7" Type="http://schemas.openxmlformats.org/officeDocument/2006/relationships/image" Target="../media/image34.png"/><Relationship Id="rId12" Type="http://schemas.openxmlformats.org/officeDocument/2006/relationships/image" Target="../media/image39.svg"/><Relationship Id="rId17" Type="http://schemas.openxmlformats.org/officeDocument/2006/relationships/image" Target="../media/image44.png"/><Relationship Id="rId2" Type="http://schemas.openxmlformats.org/officeDocument/2006/relationships/notesSlide" Target="../notesSlides/notesSlide3.xml"/><Relationship Id="rId16" Type="http://schemas.openxmlformats.org/officeDocument/2006/relationships/image" Target="../media/image43.svg"/><Relationship Id="rId20" Type="http://schemas.openxmlformats.org/officeDocument/2006/relationships/image" Target="../media/image46.svg"/><Relationship Id="rId1" Type="http://schemas.openxmlformats.org/officeDocument/2006/relationships/slideLayout" Target="../slideLayouts/slideLayout2.xml"/><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20.png"/><Relationship Id="rId15" Type="http://schemas.openxmlformats.org/officeDocument/2006/relationships/image" Target="../media/image42.png"/><Relationship Id="rId10" Type="http://schemas.openxmlformats.org/officeDocument/2006/relationships/image" Target="../media/image37.svg"/><Relationship Id="rId19" Type="http://schemas.openxmlformats.org/officeDocument/2006/relationships/image" Target="../media/image22.png"/><Relationship Id="rId4" Type="http://schemas.openxmlformats.org/officeDocument/2006/relationships/image" Target="../media/image32.svg"/><Relationship Id="rId9" Type="http://schemas.openxmlformats.org/officeDocument/2006/relationships/image" Target="../media/image36.png"/><Relationship Id="rId14" Type="http://schemas.openxmlformats.org/officeDocument/2006/relationships/image" Target="../media/image41.svg"/></Relationships>
</file>

<file path=ppt/slides/_rels/slide6.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notesSlide" Target="../notesSlides/notesSlide4.xml"/><Relationship Id="rId7" Type="http://schemas.openxmlformats.org/officeDocument/2006/relationships/image" Target="../media/image48.png"/><Relationship Id="rId12" Type="http://schemas.openxmlformats.org/officeDocument/2006/relationships/image" Target="../media/image53.svg"/><Relationship Id="rId2" Type="http://schemas.openxmlformats.org/officeDocument/2006/relationships/slideLayout" Target="../slideLayouts/slideLayout1.xml"/><Relationship Id="rId16" Type="http://schemas.openxmlformats.org/officeDocument/2006/relationships/image" Target="../media/image57.png"/><Relationship Id="rId1" Type="http://schemas.openxmlformats.org/officeDocument/2006/relationships/tags" Target="../tags/tag15.xml"/><Relationship Id="rId6" Type="http://schemas.openxmlformats.org/officeDocument/2006/relationships/image" Target="../media/image47.emf"/><Relationship Id="rId11" Type="http://schemas.openxmlformats.org/officeDocument/2006/relationships/image" Target="../media/image52.png"/><Relationship Id="rId5" Type="http://schemas.openxmlformats.org/officeDocument/2006/relationships/oleObject" Target="../embeddings/oleObject15.bin"/><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25.png"/><Relationship Id="rId9" Type="http://schemas.openxmlformats.org/officeDocument/2006/relationships/image" Target="../media/image50.png"/><Relationship Id="rId14" Type="http://schemas.openxmlformats.org/officeDocument/2006/relationships/image" Target="../media/image55.sv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60.png"/><Relationship Id="rId5" Type="http://schemas.openxmlformats.org/officeDocument/2006/relationships/image" Target="../media/image59.jpg"/><Relationship Id="rId4" Type="http://schemas.openxmlformats.org/officeDocument/2006/relationships/image" Target="../media/image58.emf"/></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descr="Un barco en el mar&#10;&#10;Descripción generada automáticamente con confianza media">
            <a:extLst>
              <a:ext uri="{FF2B5EF4-FFF2-40B4-BE49-F238E27FC236}">
                <a16:creationId xmlns:a16="http://schemas.microsoft.com/office/drawing/2014/main" id="{424A3943-D9A5-4EFB-9DB7-1E9D593B36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8" y="0"/>
            <a:ext cx="14796578" cy="9874250"/>
          </a:xfrm>
          <a:prstGeom prst="rect">
            <a:avLst/>
          </a:prstGeom>
        </p:spPr>
      </p:pic>
      <p:grpSp>
        <p:nvGrpSpPr>
          <p:cNvPr id="17" name="Grupo 16"/>
          <p:cNvGrpSpPr/>
          <p:nvPr/>
        </p:nvGrpSpPr>
        <p:grpSpPr>
          <a:xfrm>
            <a:off x="-1204607" y="98343"/>
            <a:ext cx="613521" cy="6984566"/>
            <a:chOff x="-662737" y="-29499"/>
            <a:chExt cx="426111" cy="4851017"/>
          </a:xfrm>
        </p:grpSpPr>
        <p:sp>
          <p:nvSpPr>
            <p:cNvPr id="18" name="Rectángulo 17">
              <a:extLst>
                <a:ext uri="{FF2B5EF4-FFF2-40B4-BE49-F238E27FC236}">
                  <a16:creationId xmlns:a16="http://schemas.microsoft.com/office/drawing/2014/main" id="{FBF5A17E-21D3-4DA5-96DA-C75501972C84}"/>
                </a:ext>
              </a:extLst>
            </p:cNvPr>
            <p:cNvSpPr/>
            <p:nvPr/>
          </p:nvSpPr>
          <p:spPr>
            <a:xfrm>
              <a:off x="-662737" y="-29499"/>
              <a:ext cx="426111" cy="426111"/>
            </a:xfrm>
            <a:prstGeom prst="rect">
              <a:avLst/>
            </a:prstGeom>
            <a:solidFill>
              <a:srgbClr val="C19F55"/>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sp>
          <p:nvSpPr>
            <p:cNvPr id="19" name="Rectángulo 18">
              <a:extLst>
                <a:ext uri="{FF2B5EF4-FFF2-40B4-BE49-F238E27FC236}">
                  <a16:creationId xmlns:a16="http://schemas.microsoft.com/office/drawing/2014/main" id="{FBF5A17E-21D3-4DA5-96DA-C75501972C84}"/>
                </a:ext>
              </a:extLst>
            </p:cNvPr>
            <p:cNvSpPr/>
            <p:nvPr/>
          </p:nvSpPr>
          <p:spPr>
            <a:xfrm>
              <a:off x="-662737" y="462157"/>
              <a:ext cx="426111" cy="426111"/>
            </a:xfrm>
            <a:prstGeom prst="rect">
              <a:avLst/>
            </a:prstGeom>
            <a:solidFill>
              <a:srgbClr val="F9C83E"/>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sp>
          <p:nvSpPr>
            <p:cNvPr id="20" name="Rectángulo 19">
              <a:extLst>
                <a:ext uri="{FF2B5EF4-FFF2-40B4-BE49-F238E27FC236}">
                  <a16:creationId xmlns:a16="http://schemas.microsoft.com/office/drawing/2014/main" id="{FBF5A17E-21D3-4DA5-96DA-C75501972C84}"/>
                </a:ext>
              </a:extLst>
            </p:cNvPr>
            <p:cNvSpPr/>
            <p:nvPr/>
          </p:nvSpPr>
          <p:spPr>
            <a:xfrm>
              <a:off x="-662737" y="953813"/>
              <a:ext cx="426111" cy="426111"/>
            </a:xfrm>
            <a:prstGeom prst="rect">
              <a:avLst/>
            </a:prstGeom>
            <a:solidFill>
              <a:srgbClr val="FFEEA9"/>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sp>
          <p:nvSpPr>
            <p:cNvPr id="21" name="Rectángulo 20">
              <a:extLst>
                <a:ext uri="{FF2B5EF4-FFF2-40B4-BE49-F238E27FC236}">
                  <a16:creationId xmlns:a16="http://schemas.microsoft.com/office/drawing/2014/main" id="{FBF5A17E-21D3-4DA5-96DA-C75501972C84}"/>
                </a:ext>
              </a:extLst>
            </p:cNvPr>
            <p:cNvSpPr/>
            <p:nvPr/>
          </p:nvSpPr>
          <p:spPr>
            <a:xfrm>
              <a:off x="-662737" y="1445469"/>
              <a:ext cx="426111" cy="426111"/>
            </a:xfrm>
            <a:prstGeom prst="rect">
              <a:avLst/>
            </a:prstGeom>
            <a:solidFill>
              <a:srgbClr val="D83C00"/>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sp>
          <p:nvSpPr>
            <p:cNvPr id="22" name="Rectángulo 21">
              <a:extLst>
                <a:ext uri="{FF2B5EF4-FFF2-40B4-BE49-F238E27FC236}">
                  <a16:creationId xmlns:a16="http://schemas.microsoft.com/office/drawing/2014/main" id="{FBF5A17E-21D3-4DA5-96DA-C75501972C84}"/>
                </a:ext>
              </a:extLst>
            </p:cNvPr>
            <p:cNvSpPr/>
            <p:nvPr/>
          </p:nvSpPr>
          <p:spPr>
            <a:xfrm>
              <a:off x="-662737" y="1937125"/>
              <a:ext cx="426111" cy="426111"/>
            </a:xfrm>
            <a:prstGeom prst="rect">
              <a:avLst/>
            </a:prstGeom>
            <a:solidFill>
              <a:srgbClr val="1E1E1E"/>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sp>
          <p:nvSpPr>
            <p:cNvPr id="23" name="Rectángulo 22">
              <a:extLst>
                <a:ext uri="{FF2B5EF4-FFF2-40B4-BE49-F238E27FC236}">
                  <a16:creationId xmlns:a16="http://schemas.microsoft.com/office/drawing/2014/main" id="{FBF5A17E-21D3-4DA5-96DA-C75501972C84}"/>
                </a:ext>
              </a:extLst>
            </p:cNvPr>
            <p:cNvSpPr/>
            <p:nvPr/>
          </p:nvSpPr>
          <p:spPr>
            <a:xfrm>
              <a:off x="-662737" y="2428781"/>
              <a:ext cx="426111" cy="426111"/>
            </a:xfrm>
            <a:prstGeom prst="rect">
              <a:avLst/>
            </a:prstGeom>
            <a:solidFill>
              <a:srgbClr val="B8B8B8"/>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sp>
          <p:nvSpPr>
            <p:cNvPr id="24" name="Rectángulo 23">
              <a:extLst>
                <a:ext uri="{FF2B5EF4-FFF2-40B4-BE49-F238E27FC236}">
                  <a16:creationId xmlns:a16="http://schemas.microsoft.com/office/drawing/2014/main" id="{FBF5A17E-21D3-4DA5-96DA-C75501972C84}"/>
                </a:ext>
              </a:extLst>
            </p:cNvPr>
            <p:cNvSpPr/>
            <p:nvPr/>
          </p:nvSpPr>
          <p:spPr>
            <a:xfrm>
              <a:off x="-662737" y="2920437"/>
              <a:ext cx="426111" cy="426111"/>
            </a:xfrm>
            <a:prstGeom prst="rect">
              <a:avLst/>
            </a:prstGeom>
            <a:solidFill>
              <a:srgbClr val="FFFFF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sp>
          <p:nvSpPr>
            <p:cNvPr id="25" name="Rectángulo 24">
              <a:extLst>
                <a:ext uri="{FF2B5EF4-FFF2-40B4-BE49-F238E27FC236}">
                  <a16:creationId xmlns:a16="http://schemas.microsoft.com/office/drawing/2014/main" id="{FBF5A17E-21D3-4DA5-96DA-C75501972C84}"/>
                </a:ext>
              </a:extLst>
            </p:cNvPr>
            <p:cNvSpPr/>
            <p:nvPr/>
          </p:nvSpPr>
          <p:spPr>
            <a:xfrm>
              <a:off x="-662737" y="3412093"/>
              <a:ext cx="426111" cy="426111"/>
            </a:xfrm>
            <a:prstGeom prst="rect">
              <a:avLst/>
            </a:prstGeom>
            <a:solidFill>
              <a:srgbClr val="DBDBDB"/>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sp>
          <p:nvSpPr>
            <p:cNvPr id="26" name="Rectángulo 25">
              <a:extLst>
                <a:ext uri="{FF2B5EF4-FFF2-40B4-BE49-F238E27FC236}">
                  <a16:creationId xmlns:a16="http://schemas.microsoft.com/office/drawing/2014/main" id="{FBF5A17E-21D3-4DA5-96DA-C75501972C84}"/>
                </a:ext>
              </a:extLst>
            </p:cNvPr>
            <p:cNvSpPr/>
            <p:nvPr/>
          </p:nvSpPr>
          <p:spPr>
            <a:xfrm>
              <a:off x="-662737" y="3903749"/>
              <a:ext cx="426111" cy="426111"/>
            </a:xfrm>
            <a:prstGeom prst="rect">
              <a:avLst/>
            </a:prstGeom>
            <a:solidFill>
              <a:srgbClr val="3C3C3C"/>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sp>
          <p:nvSpPr>
            <p:cNvPr id="27" name="Rectángulo 26">
              <a:extLst>
                <a:ext uri="{FF2B5EF4-FFF2-40B4-BE49-F238E27FC236}">
                  <a16:creationId xmlns:a16="http://schemas.microsoft.com/office/drawing/2014/main" id="{FBF5A17E-21D3-4DA5-96DA-C75501972C84}"/>
                </a:ext>
              </a:extLst>
            </p:cNvPr>
            <p:cNvSpPr/>
            <p:nvPr/>
          </p:nvSpPr>
          <p:spPr>
            <a:xfrm>
              <a:off x="-662737" y="4395407"/>
              <a:ext cx="426111" cy="426111"/>
            </a:xfrm>
            <a:prstGeom prst="rect">
              <a:avLst/>
            </a:prstGeom>
            <a:solidFill>
              <a:srgbClr val="FF5000"/>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3456" dirty="0">
                <a:solidFill>
                  <a:prstClr val="white"/>
                </a:solidFill>
                <a:latin typeface="Calibri" panose="020F0502020204030204"/>
              </a:endParaRPr>
            </a:p>
          </p:txBody>
        </p:sp>
      </p:grpSp>
      <p:pic>
        <p:nvPicPr>
          <p:cNvPr id="74" name="Imagem 24">
            <a:extLst>
              <a:ext uri="{FF2B5EF4-FFF2-40B4-BE49-F238E27FC236}">
                <a16:creationId xmlns:a16="http://schemas.microsoft.com/office/drawing/2014/main" id="{C82B21A6-BC21-4370-BA05-C7A6A931B234}"/>
              </a:ext>
            </a:extLst>
          </p:cNvPr>
          <p:cNvPicPr>
            <a:picLocks noChangeAspect="1"/>
          </p:cNvPicPr>
          <p:nvPr/>
        </p:nvPicPr>
        <p:blipFill rotWithShape="1">
          <a:blip r:embed="rId4">
            <a:duotone>
              <a:prstClr val="black"/>
              <a:srgbClr val="DBDBDB">
                <a:tint val="45000"/>
                <a:satMod val="400000"/>
              </a:srgbClr>
            </a:duotone>
          </a:blip>
          <a:srcRect b="-120"/>
          <a:stretch/>
        </p:blipFill>
        <p:spPr>
          <a:xfrm flipH="1">
            <a:off x="1764" y="1545"/>
            <a:ext cx="17581383" cy="9879775"/>
          </a:xfrm>
          <a:prstGeom prst="rect">
            <a:avLst/>
          </a:prstGeom>
        </p:spPr>
      </p:pic>
      <p:pic>
        <p:nvPicPr>
          <p:cNvPr id="9" name="Imagen 8" descr="Logotipo&#10;&#10;Descripción generada automáticamente">
            <a:extLst>
              <a:ext uri="{FF2B5EF4-FFF2-40B4-BE49-F238E27FC236}">
                <a16:creationId xmlns:a16="http://schemas.microsoft.com/office/drawing/2014/main" id="{C0C8BAAE-1749-4B7A-A130-57DBF9AC19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011403" y="3754511"/>
            <a:ext cx="2135916" cy="802266"/>
          </a:xfrm>
          <a:prstGeom prst="rect">
            <a:avLst/>
          </a:prstGeom>
        </p:spPr>
      </p:pic>
      <p:sp>
        <p:nvSpPr>
          <p:cNvPr id="67" name="Rectángulo 66">
            <a:extLst>
              <a:ext uri="{FF2B5EF4-FFF2-40B4-BE49-F238E27FC236}">
                <a16:creationId xmlns:a16="http://schemas.microsoft.com/office/drawing/2014/main" id="{28FAF527-05D4-4B9B-8D20-510BB3EE5268}"/>
              </a:ext>
            </a:extLst>
          </p:cNvPr>
          <p:cNvSpPr/>
          <p:nvPr/>
        </p:nvSpPr>
        <p:spPr>
          <a:xfrm>
            <a:off x="12349843" y="7994885"/>
            <a:ext cx="5213215" cy="1879366"/>
          </a:xfrm>
          <a:prstGeom prst="rect">
            <a:avLst/>
          </a:prstGeom>
          <a:solidFill>
            <a:srgbClr val="F9C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es-PE" sz="2304" dirty="0">
              <a:solidFill>
                <a:prstClr val="white"/>
              </a:solidFill>
              <a:latin typeface="Verdana" panose="020B0604030504040204" pitchFamily="34" charset="0"/>
              <a:ea typeface="Verdana" panose="020B0604030504040204" pitchFamily="34" charset="0"/>
            </a:endParaRPr>
          </a:p>
        </p:txBody>
      </p:sp>
      <p:sp>
        <p:nvSpPr>
          <p:cNvPr id="64" name="CuadroTexto 63">
            <a:extLst>
              <a:ext uri="{FF2B5EF4-FFF2-40B4-BE49-F238E27FC236}">
                <a16:creationId xmlns:a16="http://schemas.microsoft.com/office/drawing/2014/main" id="{62E7AE29-34C7-4D7F-B0E1-E47D55C3388E}"/>
              </a:ext>
            </a:extLst>
          </p:cNvPr>
          <p:cNvSpPr txBox="1"/>
          <p:nvPr/>
        </p:nvSpPr>
        <p:spPr>
          <a:xfrm>
            <a:off x="10223500" y="5116190"/>
            <a:ext cx="6470462" cy="954107"/>
          </a:xfrm>
          <a:prstGeom prst="rect">
            <a:avLst/>
          </a:prstGeom>
          <a:noFill/>
        </p:spPr>
        <p:txBody>
          <a:bodyPr wrap="square" rtlCol="0">
            <a:spAutoFit/>
          </a:bodyPr>
          <a:lstStyle/>
          <a:p>
            <a:pPr algn="r" defTabSz="1316553" fontAlgn="auto">
              <a:spcBef>
                <a:spcPts val="0"/>
              </a:spcBef>
              <a:spcAft>
                <a:spcPts val="0"/>
              </a:spcAft>
            </a:pPr>
            <a:r>
              <a:rPr lang="es-PE" sz="2800" b="1" dirty="0">
                <a:effectLst/>
                <a:latin typeface="Arial" panose="020B0604020202020204" pitchFamily="34" charset="0"/>
                <a:ea typeface="Aptos" panose="020B0004020202020204" pitchFamily="34" charset="0"/>
              </a:rPr>
              <a:t>Desarrollo Sostenible de Proyectos Mineros y Optimización de Permisos</a:t>
            </a:r>
            <a:endParaRPr lang="es-ES" sz="2800" b="1" dirty="0">
              <a:solidFill>
                <a:srgbClr val="3C3C3C"/>
              </a:solidFill>
              <a:latin typeface="Verdana" panose="020B0604030504040204" pitchFamily="34" charset="0"/>
              <a:ea typeface="Verdana" panose="020B0604030504040204" pitchFamily="34" charset="0"/>
              <a:cs typeface="+mn-cs"/>
            </a:endParaRPr>
          </a:p>
        </p:txBody>
      </p:sp>
      <p:pic>
        <p:nvPicPr>
          <p:cNvPr id="69" name="Imagen 68" descr="Forma, Flecha&#10;&#10;Descripción generada automáticamente">
            <a:extLst>
              <a:ext uri="{FF2B5EF4-FFF2-40B4-BE49-F238E27FC236}">
                <a16:creationId xmlns:a16="http://schemas.microsoft.com/office/drawing/2014/main" id="{FB8557FD-B7D8-459F-8C7C-3D4692AA4B69}"/>
              </a:ext>
            </a:extLst>
          </p:cNvPr>
          <p:cNvPicPr>
            <a:picLocks noChangeAspect="1"/>
          </p:cNvPicPr>
          <p:nvPr/>
        </p:nvPicPr>
        <p:blipFill rotWithShape="1">
          <a:blip r:embed="rId6">
            <a:extLst>
              <a:ext uri="{28A0092B-C50C-407E-A947-70E740481C1C}">
                <a14:useLocalDpi xmlns:a14="http://schemas.microsoft.com/office/drawing/2010/main" val="0"/>
              </a:ext>
            </a:extLst>
          </a:blip>
          <a:srcRect t="55665"/>
          <a:stretch/>
        </p:blipFill>
        <p:spPr>
          <a:xfrm>
            <a:off x="9122365" y="-12494"/>
            <a:ext cx="6881851" cy="2541277"/>
          </a:xfrm>
          <a:prstGeom prst="rect">
            <a:avLst/>
          </a:prstGeom>
        </p:spPr>
      </p:pic>
      <p:pic>
        <p:nvPicPr>
          <p:cNvPr id="71" name="Imagen 70" descr="Icono&#10;&#10;Descripción generada automáticamente">
            <a:extLst>
              <a:ext uri="{FF2B5EF4-FFF2-40B4-BE49-F238E27FC236}">
                <a16:creationId xmlns:a16="http://schemas.microsoft.com/office/drawing/2014/main" id="{F87752E3-53BF-499B-AA11-6847E741F05E}"/>
              </a:ext>
            </a:extLst>
          </p:cNvPr>
          <p:cNvPicPr>
            <a:picLocks noChangeAspect="1"/>
          </p:cNvPicPr>
          <p:nvPr/>
        </p:nvPicPr>
        <p:blipFill rotWithShape="1">
          <a:blip r:embed="rId7">
            <a:extLst>
              <a:ext uri="{28A0092B-C50C-407E-A947-70E740481C1C}">
                <a14:useLocalDpi xmlns:a14="http://schemas.microsoft.com/office/drawing/2010/main" val="0"/>
              </a:ext>
            </a:extLst>
          </a:blip>
          <a:srcRect r="65577"/>
          <a:stretch/>
        </p:blipFill>
        <p:spPr>
          <a:xfrm>
            <a:off x="14893941" y="501426"/>
            <a:ext cx="2662046" cy="4116822"/>
          </a:xfrm>
          <a:prstGeom prst="rect">
            <a:avLst/>
          </a:prstGeom>
        </p:spPr>
      </p:pic>
      <p:sp>
        <p:nvSpPr>
          <p:cNvPr id="78" name="CuadroTexto 77">
            <a:extLst>
              <a:ext uri="{FF2B5EF4-FFF2-40B4-BE49-F238E27FC236}">
                <a16:creationId xmlns:a16="http://schemas.microsoft.com/office/drawing/2014/main" id="{10FD4D9D-EA2D-4A86-ACCB-88581A335894}"/>
              </a:ext>
            </a:extLst>
          </p:cNvPr>
          <p:cNvSpPr txBox="1"/>
          <p:nvPr/>
        </p:nvSpPr>
        <p:spPr>
          <a:xfrm>
            <a:off x="11335685" y="6568268"/>
            <a:ext cx="4799477" cy="1155957"/>
          </a:xfrm>
          <a:prstGeom prst="rect">
            <a:avLst/>
          </a:prstGeom>
          <a:noFill/>
        </p:spPr>
        <p:txBody>
          <a:bodyPr wrap="square" rtlCol="0">
            <a:spAutoFit/>
          </a:bodyPr>
          <a:lstStyle/>
          <a:p>
            <a:pPr algn="r" defTabSz="1316553" fontAlgn="auto">
              <a:spcBef>
                <a:spcPts val="0"/>
              </a:spcBef>
              <a:spcAft>
                <a:spcPts val="0"/>
              </a:spcAft>
            </a:pPr>
            <a:r>
              <a:rPr lang="es-ES" sz="1728" dirty="0">
                <a:solidFill>
                  <a:srgbClr val="FF5000"/>
                </a:solidFill>
                <a:latin typeface="Verdana" panose="020B0604030504040204" pitchFamily="34" charset="0"/>
                <a:ea typeface="Verdana" panose="020B0604030504040204" pitchFamily="34" charset="0"/>
                <a:cs typeface="+mn-cs"/>
              </a:rPr>
              <a:t>Magaly Bardales</a:t>
            </a:r>
            <a:r>
              <a:rPr lang="es-ES" sz="1728" dirty="0">
                <a:solidFill>
                  <a:srgbClr val="3C3C3C"/>
                </a:solidFill>
                <a:latin typeface="Verdana" panose="020B0604030504040204" pitchFamily="34" charset="0"/>
                <a:ea typeface="Verdana" panose="020B0604030504040204" pitchFamily="34" charset="0"/>
                <a:cs typeface="+mn-cs"/>
              </a:rPr>
              <a:t>, Gerente Corporativo Legal y Relaciones Institucionales</a:t>
            </a:r>
          </a:p>
          <a:p>
            <a:pPr algn="r" defTabSz="1316553" fontAlgn="auto">
              <a:spcBef>
                <a:spcPts val="0"/>
              </a:spcBef>
              <a:spcAft>
                <a:spcPts val="0"/>
              </a:spcAft>
            </a:pPr>
            <a:endParaRPr lang="es-ES" sz="1728" dirty="0">
              <a:solidFill>
                <a:srgbClr val="3C3C3C"/>
              </a:solidFill>
              <a:latin typeface="Verdana" panose="020B0604030504040204" pitchFamily="34" charset="0"/>
              <a:ea typeface="Verdana" panose="020B0604030504040204" pitchFamily="34" charset="0"/>
              <a:cs typeface="+mn-cs"/>
            </a:endParaRPr>
          </a:p>
          <a:p>
            <a:pPr algn="r" defTabSz="1316553" fontAlgn="auto">
              <a:spcBef>
                <a:spcPts val="0"/>
              </a:spcBef>
              <a:spcAft>
                <a:spcPts val="0"/>
              </a:spcAft>
            </a:pPr>
            <a:r>
              <a:rPr lang="es-ES" sz="1728" b="1" dirty="0">
                <a:solidFill>
                  <a:srgbClr val="3C3C3C"/>
                </a:solidFill>
                <a:latin typeface="Verdana" panose="020B0604030504040204" pitchFamily="34" charset="0"/>
                <a:ea typeface="Verdana" panose="020B0604030504040204" pitchFamily="34" charset="0"/>
                <a:cs typeface="+mn-cs"/>
              </a:rPr>
              <a:t>Setiembre, 2024</a:t>
            </a:r>
            <a:endParaRPr lang="es-PE" sz="1728" b="1" dirty="0">
              <a:solidFill>
                <a:srgbClr val="3C3C3C"/>
              </a:solidFill>
              <a:latin typeface="Verdana" panose="020B0604030504040204" pitchFamily="34" charset="0"/>
              <a:ea typeface="Verdana" panose="020B0604030504040204" pitchFamily="34" charset="0"/>
              <a:cs typeface="+mn-cs"/>
            </a:endParaRPr>
          </a:p>
        </p:txBody>
      </p:sp>
    </p:spTree>
    <p:extLst>
      <p:ext uri="{BB962C8B-B14F-4D97-AF65-F5344CB8AC3E}">
        <p14:creationId xmlns:p14="http://schemas.microsoft.com/office/powerpoint/2010/main" val="177369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m 10">
            <a:extLst>
              <a:ext uri="{FF2B5EF4-FFF2-40B4-BE49-F238E27FC236}">
                <a16:creationId xmlns:a16="http://schemas.microsoft.com/office/drawing/2014/main" id="{4A9CA058-1C3A-C748-7F57-135E02F8F8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0961" b="31645"/>
          <a:stretch>
            <a:fillRect/>
          </a:stretch>
        </p:blipFill>
        <p:spPr bwMode="auto">
          <a:xfrm>
            <a:off x="7274307" y="15207"/>
            <a:ext cx="10361118" cy="674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Agrupar 37">
            <a:extLst>
              <a:ext uri="{FF2B5EF4-FFF2-40B4-BE49-F238E27FC236}">
                <a16:creationId xmlns:a16="http://schemas.microsoft.com/office/drawing/2014/main" id="{E18382F4-A4C5-1778-03C4-BE1E6B1F5337}"/>
              </a:ext>
            </a:extLst>
          </p:cNvPr>
          <p:cNvGrpSpPr>
            <a:grpSpLocks/>
          </p:cNvGrpSpPr>
          <p:nvPr/>
        </p:nvGrpSpPr>
        <p:grpSpPr bwMode="auto">
          <a:xfrm>
            <a:off x="12444664" y="6473120"/>
            <a:ext cx="4631305" cy="2786938"/>
            <a:chOff x="7733659" y="6568161"/>
            <a:chExt cx="4632401" cy="2786368"/>
          </a:xfrm>
        </p:grpSpPr>
        <p:sp>
          <p:nvSpPr>
            <p:cNvPr id="16411" name="CuadroTexto 4">
              <a:extLst>
                <a:ext uri="{FF2B5EF4-FFF2-40B4-BE49-F238E27FC236}">
                  <a16:creationId xmlns:a16="http://schemas.microsoft.com/office/drawing/2014/main" id="{DEF35FC0-F9E7-9F70-DEB5-EDE30D3E62D2}"/>
                </a:ext>
              </a:extLst>
            </p:cNvPr>
            <p:cNvSpPr txBox="1">
              <a:spLocks noChangeArrowheads="1"/>
            </p:cNvSpPr>
            <p:nvPr/>
          </p:nvSpPr>
          <p:spPr bwMode="auto">
            <a:xfrm>
              <a:off x="7733659" y="6568161"/>
              <a:ext cx="4632401" cy="2786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1657" tIns="65828" rIns="131657" bIns="65828" anchor="t">
              <a:spAutoFit/>
            </a:bodyPr>
            <a:lstStyle>
              <a:lvl1pPr eaLnBrk="0" hangingPunct="0">
                <a:lnSpc>
                  <a:spcPct val="90000"/>
                </a:lnSpc>
                <a:spcBef>
                  <a:spcPts val="1438"/>
                </a:spcBef>
                <a:buFont typeface="Arial" panose="020B0604020202020204" pitchFamily="34" charset="0"/>
                <a:buChar char="•"/>
                <a:defRPr sz="4000">
                  <a:solidFill>
                    <a:schemeClr val="tx1"/>
                  </a:solidFill>
                  <a:latin typeface="Calibri" panose="020F0502020204030204" pitchFamily="34" charset="0"/>
                </a:defRPr>
              </a:lvl1pPr>
              <a:lvl2pPr marL="985838" indent="-328613" eaLnBrk="0" hangingPunct="0">
                <a:lnSpc>
                  <a:spcPct val="90000"/>
                </a:lnSpc>
                <a:spcBef>
                  <a:spcPts val="725"/>
                </a:spcBef>
                <a:buFont typeface="Arial" panose="020B0604020202020204" pitchFamily="34" charset="0"/>
                <a:buChar char="•"/>
                <a:defRPr sz="3400">
                  <a:solidFill>
                    <a:schemeClr val="tx1"/>
                  </a:solidFill>
                  <a:latin typeface="Calibri" panose="020F0502020204030204" pitchFamily="34" charset="0"/>
                </a:defRPr>
              </a:lvl2pPr>
              <a:lvl3pPr marL="1644650" indent="-328613" eaLnBrk="0" hangingPunct="0">
                <a:lnSpc>
                  <a:spcPct val="90000"/>
                </a:lnSpc>
                <a:spcBef>
                  <a:spcPts val="725"/>
                </a:spcBef>
                <a:buFont typeface="Arial" panose="020B0604020202020204" pitchFamily="34" charset="0"/>
                <a:buChar char="•"/>
                <a:defRPr sz="2800">
                  <a:solidFill>
                    <a:schemeClr val="tx1"/>
                  </a:solidFill>
                  <a:latin typeface="Calibri" panose="020F0502020204030204" pitchFamily="34" charset="0"/>
                </a:defRPr>
              </a:lvl3pPr>
              <a:lvl4pPr marL="2303463" indent="-328613" eaLnBrk="0" hangingPunct="0">
                <a:lnSpc>
                  <a:spcPct val="90000"/>
                </a:lnSpc>
                <a:spcBef>
                  <a:spcPts val="725"/>
                </a:spcBef>
                <a:buFont typeface="Arial" panose="020B0604020202020204" pitchFamily="34" charset="0"/>
                <a:buChar char="•"/>
                <a:defRPr sz="2500">
                  <a:solidFill>
                    <a:schemeClr val="tx1"/>
                  </a:solidFill>
                  <a:latin typeface="Calibri" panose="020F0502020204030204" pitchFamily="34" charset="0"/>
                </a:defRPr>
              </a:lvl4pPr>
              <a:lvl5pPr marL="2960688" indent="-328613" eaLnBrk="0" hangingPunct="0">
                <a:lnSpc>
                  <a:spcPct val="90000"/>
                </a:lnSpc>
                <a:spcBef>
                  <a:spcPts val="725"/>
                </a:spcBef>
                <a:buFont typeface="Arial" panose="020B0604020202020204" pitchFamily="34" charset="0"/>
                <a:buChar char="•"/>
                <a:defRPr sz="2500">
                  <a:solidFill>
                    <a:schemeClr val="tx1"/>
                  </a:solidFill>
                  <a:latin typeface="Calibri" panose="020F0502020204030204" pitchFamily="34" charset="0"/>
                </a:defRPr>
              </a:lvl5pPr>
              <a:lvl6pPr marL="3417888" indent="-328613" defTabSz="457200"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6pPr>
              <a:lvl7pPr marL="3875088" indent="-328613" defTabSz="457200"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7pPr>
              <a:lvl8pPr marL="4332288" indent="-328613" defTabSz="457200"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8pPr>
              <a:lvl9pPr marL="4789488" indent="-328613" defTabSz="457200"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9pPr>
            </a:lstStyle>
            <a:p>
              <a:pPr defTabSz="1316553" eaLnBrk="1" fontAlgn="auto" hangingPunct="1">
                <a:spcBef>
                  <a:spcPct val="0"/>
                </a:spcBef>
                <a:spcAft>
                  <a:spcPts val="1800"/>
                </a:spcAft>
                <a:buNone/>
                <a:defRPr/>
              </a:pPr>
              <a:endParaRPr lang="en-US" altLang="en-US" sz="1944" b="1" dirty="0">
                <a:solidFill>
                  <a:srgbClr val="3C3C3C"/>
                </a:solidFill>
                <a:latin typeface="Verdana"/>
                <a:ea typeface="Verdana" panose="020B0604030504040204" pitchFamily="34" charset="0"/>
                <a:cs typeface="Verdana" panose="020B0604030504040204" pitchFamily="34" charset="0"/>
              </a:endParaRPr>
            </a:p>
            <a:p>
              <a:pPr algn="just" defTabSz="1316553" eaLnBrk="1" fontAlgn="auto" hangingPunct="1">
                <a:spcBef>
                  <a:spcPct val="0"/>
                </a:spcBef>
                <a:spcAft>
                  <a:spcPts val="1800"/>
                </a:spcAft>
                <a:buNone/>
                <a:defRPr/>
              </a:pPr>
              <a:r>
                <a:rPr lang="es-ES" sz="1944" dirty="0">
                  <a:solidFill>
                    <a:srgbClr val="3C3C3C"/>
                  </a:solidFill>
                  <a:latin typeface="Verdana"/>
                  <a:ea typeface="Verdana"/>
                </a:rPr>
                <a:t>Nexa está reemplazando parte del diésel </a:t>
              </a:r>
              <a:r>
                <a:rPr lang="es-PE" altLang="en-US" sz="1944" noProof="1">
                  <a:solidFill>
                    <a:srgbClr val="3C3C3C"/>
                  </a:solidFill>
                  <a:latin typeface="Verdana"/>
                  <a:ea typeface="Verdana"/>
                  <a:cs typeface="+mn-cs"/>
                </a:rPr>
                <a:t>por </a:t>
              </a:r>
              <a:r>
                <a:rPr lang="es-PE" altLang="en-US" sz="1944" b="1" noProof="1">
                  <a:solidFill>
                    <a:srgbClr val="3C3C3C"/>
                  </a:solidFill>
                  <a:latin typeface="Verdana"/>
                  <a:ea typeface="Verdana"/>
                  <a:cs typeface="+mn-cs"/>
                </a:rPr>
                <a:t>hidrógeno </a:t>
              </a:r>
              <a:r>
                <a:rPr lang="es-ES" altLang="en-US" sz="1944" noProof="1">
                  <a:solidFill>
                    <a:srgbClr val="3C3C3C"/>
                  </a:solidFill>
                  <a:latin typeface="Verdana"/>
                  <a:ea typeface="Verdana"/>
                  <a:cs typeface="+mn-cs"/>
                </a:rPr>
                <a:t>en vehículos propios y de sus proveedores para reducir las emisiones de GEI. Después de pruebas exitosas en 2021 y 2022, están transitando hacia un contrato de largo plazo para esta tecnología.</a:t>
              </a:r>
              <a:endParaRPr lang="es-PE" altLang="en-US" sz="1944" noProof="1">
                <a:solidFill>
                  <a:srgbClr val="3C3C3C"/>
                </a:solidFill>
                <a:latin typeface="Verdana"/>
                <a:ea typeface="Verdana"/>
                <a:cs typeface="+mn-cs"/>
              </a:endParaRPr>
            </a:p>
          </p:txBody>
        </p:sp>
        <p:cxnSp>
          <p:nvCxnSpPr>
            <p:cNvPr id="19" name="Straight Connector 22">
              <a:extLst>
                <a:ext uri="{FF2B5EF4-FFF2-40B4-BE49-F238E27FC236}">
                  <a16:creationId xmlns:a16="http://schemas.microsoft.com/office/drawing/2014/main" id="{E0189CA5-7AB9-25C8-857E-876B61BCF653}"/>
                </a:ext>
              </a:extLst>
            </p:cNvPr>
            <p:cNvCxnSpPr>
              <a:cxnSpLocks/>
            </p:cNvCxnSpPr>
            <p:nvPr/>
          </p:nvCxnSpPr>
          <p:spPr>
            <a:xfrm flipH="1">
              <a:off x="7835263" y="7011073"/>
              <a:ext cx="496906" cy="0"/>
            </a:xfrm>
            <a:prstGeom prst="line">
              <a:avLst/>
            </a:prstGeom>
            <a:ln w="19050">
              <a:solidFill>
                <a:srgbClr val="FF5000"/>
              </a:solidFill>
            </a:ln>
          </p:spPr>
          <p:style>
            <a:lnRef idx="1">
              <a:schemeClr val="accent1"/>
            </a:lnRef>
            <a:fillRef idx="0">
              <a:schemeClr val="accent1"/>
            </a:fillRef>
            <a:effectRef idx="0">
              <a:schemeClr val="accent1"/>
            </a:effectRef>
            <a:fontRef idx="minor">
              <a:schemeClr val="tx1"/>
            </a:fontRef>
          </p:style>
        </p:cxnSp>
      </p:grpSp>
      <p:sp>
        <p:nvSpPr>
          <p:cNvPr id="16405" name="TextBox 3">
            <a:extLst>
              <a:ext uri="{FF2B5EF4-FFF2-40B4-BE49-F238E27FC236}">
                <a16:creationId xmlns:a16="http://schemas.microsoft.com/office/drawing/2014/main" id="{A279548B-6965-72D2-391E-DF3922BF99AA}"/>
              </a:ext>
            </a:extLst>
          </p:cNvPr>
          <p:cNvSpPr txBox="1">
            <a:spLocks noChangeArrowheads="1"/>
          </p:cNvSpPr>
          <p:nvPr/>
        </p:nvSpPr>
        <p:spPr bwMode="auto">
          <a:xfrm>
            <a:off x="491722" y="3799129"/>
            <a:ext cx="6378506" cy="1090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1657" tIns="65828" rIns="131657" bIns="65828" anchor="t">
            <a:spAutoFit/>
          </a:bodyPr>
          <a:lstStyle>
            <a:lvl1pPr eaLnBrk="0" hangingPunct="0">
              <a:lnSpc>
                <a:spcPct val="90000"/>
              </a:lnSpc>
              <a:spcBef>
                <a:spcPts val="1438"/>
              </a:spcBef>
              <a:buFont typeface="Arial" panose="020B0604020202020204" pitchFamily="34" charset="0"/>
              <a:buChar char="•"/>
              <a:defRPr sz="4000">
                <a:solidFill>
                  <a:schemeClr val="tx1"/>
                </a:solidFill>
                <a:latin typeface="Calibri" panose="020F0502020204030204" pitchFamily="34" charset="0"/>
              </a:defRPr>
            </a:lvl1pPr>
            <a:lvl2pPr eaLnBrk="0" hangingPunct="0">
              <a:lnSpc>
                <a:spcPct val="90000"/>
              </a:lnSpc>
              <a:spcBef>
                <a:spcPts val="725"/>
              </a:spcBef>
              <a:buFont typeface="Arial" panose="020B0604020202020204" pitchFamily="34" charset="0"/>
              <a:buChar char="•"/>
              <a:defRPr sz="3400">
                <a:solidFill>
                  <a:schemeClr val="tx1"/>
                </a:solidFill>
                <a:latin typeface="Calibri" panose="020F0502020204030204" pitchFamily="34" charset="0"/>
              </a:defRPr>
            </a:lvl2pPr>
            <a:lvl3pPr marL="1644650" indent="-328613" eaLnBrk="0" hangingPunct="0">
              <a:lnSpc>
                <a:spcPct val="90000"/>
              </a:lnSpc>
              <a:spcBef>
                <a:spcPts val="725"/>
              </a:spcBef>
              <a:buFont typeface="Arial" panose="020B0604020202020204" pitchFamily="34" charset="0"/>
              <a:buChar char="•"/>
              <a:defRPr sz="2800">
                <a:solidFill>
                  <a:schemeClr val="tx1"/>
                </a:solidFill>
                <a:latin typeface="Calibri" panose="020F0502020204030204" pitchFamily="34" charset="0"/>
              </a:defRPr>
            </a:lvl3pPr>
            <a:lvl4pPr marL="2303463" indent="-328613" eaLnBrk="0" hangingPunct="0">
              <a:lnSpc>
                <a:spcPct val="90000"/>
              </a:lnSpc>
              <a:spcBef>
                <a:spcPts val="725"/>
              </a:spcBef>
              <a:buFont typeface="Arial" panose="020B0604020202020204" pitchFamily="34" charset="0"/>
              <a:buChar char="•"/>
              <a:defRPr sz="2500">
                <a:solidFill>
                  <a:schemeClr val="tx1"/>
                </a:solidFill>
                <a:latin typeface="Calibri" panose="020F0502020204030204" pitchFamily="34" charset="0"/>
              </a:defRPr>
            </a:lvl4pPr>
            <a:lvl5pPr marL="2960688" indent="-328613" eaLnBrk="0" hangingPunct="0">
              <a:lnSpc>
                <a:spcPct val="90000"/>
              </a:lnSpc>
              <a:spcBef>
                <a:spcPts val="725"/>
              </a:spcBef>
              <a:buFont typeface="Arial" panose="020B0604020202020204" pitchFamily="34" charset="0"/>
              <a:buChar char="•"/>
              <a:defRPr sz="2500">
                <a:solidFill>
                  <a:schemeClr val="tx1"/>
                </a:solidFill>
                <a:latin typeface="Calibri" panose="020F0502020204030204" pitchFamily="34" charset="0"/>
              </a:defRPr>
            </a:lvl5pPr>
            <a:lvl6pPr marL="3417888" indent="-328613" defTabSz="457200"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6pPr>
            <a:lvl7pPr marL="3875088" indent="-328613" defTabSz="457200"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7pPr>
            <a:lvl8pPr marL="4332288" indent="-328613" defTabSz="457200"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8pPr>
            <a:lvl9pPr marL="4789488" indent="-328613" defTabSz="457200"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9pPr>
          </a:lstStyle>
          <a:p>
            <a:pPr algn="just" defTabSz="1316553" eaLnBrk="1" fontAlgn="auto" hangingPunct="1">
              <a:spcBef>
                <a:spcPct val="0"/>
              </a:spcBef>
              <a:spcAft>
                <a:spcPts val="1199"/>
              </a:spcAft>
              <a:buNone/>
              <a:defRPr/>
            </a:pPr>
            <a:r>
              <a:rPr lang="es-ES" altLang="en-US" sz="2304" dirty="0">
                <a:solidFill>
                  <a:prstClr val="black"/>
                </a:solidFill>
                <a:latin typeface="Verdana"/>
                <a:ea typeface="Verdana"/>
                <a:cs typeface="Verdana" panose="020B0604030504040204" pitchFamily="34" charset="0"/>
              </a:rPr>
              <a:t>En  nuestras operaciones,  casi el </a:t>
            </a:r>
            <a:r>
              <a:rPr lang="es-ES" altLang="en-US" sz="2304" b="1" dirty="0">
                <a:solidFill>
                  <a:srgbClr val="FF5000"/>
                </a:solidFill>
                <a:latin typeface="Verdana"/>
                <a:ea typeface="Verdana"/>
                <a:cs typeface="+mn-cs"/>
              </a:rPr>
              <a:t>100% de electricidad</a:t>
            </a:r>
            <a:r>
              <a:rPr lang="es-ES" altLang="en-US" sz="2304" dirty="0">
                <a:solidFill>
                  <a:prstClr val="black"/>
                </a:solidFill>
                <a:latin typeface="Verdana"/>
                <a:ea typeface="Verdana"/>
                <a:cs typeface="+mn-cs"/>
              </a:rPr>
              <a:t> </a:t>
            </a:r>
            <a:r>
              <a:rPr lang="es-ES" altLang="en-US" sz="2304" dirty="0">
                <a:solidFill>
                  <a:prstClr val="black"/>
                </a:solidFill>
                <a:latin typeface="Verdana"/>
                <a:ea typeface="Verdana"/>
                <a:cs typeface="Verdana" panose="020B0604030504040204" pitchFamily="34" charset="0"/>
              </a:rPr>
              <a:t> consumida proviene de </a:t>
            </a:r>
            <a:r>
              <a:rPr lang="es-ES" altLang="en-US" sz="2304" b="1" dirty="0">
                <a:solidFill>
                  <a:srgbClr val="FF5000"/>
                </a:solidFill>
                <a:latin typeface="Verdana"/>
                <a:ea typeface="Verdana"/>
                <a:cs typeface="+mn-cs"/>
              </a:rPr>
              <a:t>fuentes  limpias</a:t>
            </a:r>
            <a:endParaRPr lang="es-ES" altLang="en-US" sz="2376" b="1" dirty="0">
              <a:solidFill>
                <a:prstClr val="black"/>
              </a:solidFill>
              <a:latin typeface="Verdana"/>
              <a:ea typeface="Verdana" panose="020B0604030504040204" pitchFamily="34" charset="0"/>
              <a:cs typeface="+mn-cs"/>
            </a:endParaRPr>
          </a:p>
        </p:txBody>
      </p:sp>
      <p:pic>
        <p:nvPicPr>
          <p:cNvPr id="36" name="Graphic 12">
            <a:extLst>
              <a:ext uri="{FF2B5EF4-FFF2-40B4-BE49-F238E27FC236}">
                <a16:creationId xmlns:a16="http://schemas.microsoft.com/office/drawing/2014/main" id="{668537BE-8B26-B07D-28F1-A092DEA0DF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7631" b="76688"/>
          <a:stretch>
            <a:fillRect/>
          </a:stretch>
        </p:blipFill>
        <p:spPr bwMode="auto">
          <a:xfrm>
            <a:off x="12215652" y="5996734"/>
            <a:ext cx="5524977" cy="376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uadroTexto 14">
            <a:extLst>
              <a:ext uri="{FF2B5EF4-FFF2-40B4-BE49-F238E27FC236}">
                <a16:creationId xmlns:a16="http://schemas.microsoft.com/office/drawing/2014/main" id="{F556ACE6-A1D6-DC7A-64A3-EDFBCEE923A3}"/>
              </a:ext>
            </a:extLst>
          </p:cNvPr>
          <p:cNvSpPr txBox="1"/>
          <p:nvPr/>
        </p:nvSpPr>
        <p:spPr>
          <a:xfrm>
            <a:off x="491722" y="926403"/>
            <a:ext cx="7628870" cy="2260191"/>
          </a:xfrm>
          <a:prstGeom prst="rect">
            <a:avLst/>
          </a:prstGeom>
        </p:spPr>
        <p:txBody>
          <a:bodyPr wrap="square" lIns="131657" tIns="65828" rIns="131657" bIns="65828" rtlCol="0" anchor="t">
            <a:spAutoFit/>
          </a:bodyPr>
          <a:lstStyle/>
          <a:p>
            <a:pPr defTabSz="1316553" fontAlgn="auto">
              <a:spcBef>
                <a:spcPts val="0"/>
              </a:spcBef>
              <a:spcAft>
                <a:spcPts val="0"/>
              </a:spcAft>
              <a:defRPr/>
            </a:pPr>
            <a:r>
              <a:rPr lang="es-PE" sz="3456" b="1" spc="-7" dirty="0">
                <a:solidFill>
                  <a:srgbClr val="3A3A3A"/>
                </a:solidFill>
                <a:latin typeface="Verdana"/>
                <a:cs typeface="+mn-cs"/>
              </a:rPr>
              <a:t>La participación de </a:t>
            </a:r>
            <a:r>
              <a:rPr lang="es-PE" sz="3456" b="1" spc="-7" dirty="0">
                <a:solidFill>
                  <a:srgbClr val="FF5000"/>
                </a:solidFill>
                <a:latin typeface="Verdana"/>
                <a:cs typeface="+mn-cs"/>
              </a:rPr>
              <a:t>recursos renovables </a:t>
            </a:r>
            <a:r>
              <a:rPr lang="es-PE" sz="3456" b="1" spc="-7" dirty="0">
                <a:solidFill>
                  <a:srgbClr val="3A3A3A"/>
                </a:solidFill>
                <a:latin typeface="Verdana"/>
                <a:cs typeface="+mn-cs"/>
              </a:rPr>
              <a:t>en nuestra matriz de energía eléctrica ha ido creciendo año tras año</a:t>
            </a:r>
            <a:endParaRPr lang="es-PE" sz="3456" b="1" spc="-7" dirty="0">
              <a:solidFill>
                <a:srgbClr val="FF5000"/>
              </a:solidFill>
              <a:latin typeface="Verdana"/>
              <a:cs typeface="+mn-cs"/>
            </a:endParaRPr>
          </a:p>
        </p:txBody>
      </p:sp>
      <p:sp>
        <p:nvSpPr>
          <p:cNvPr id="9" name="CuadroTexto 15">
            <a:extLst>
              <a:ext uri="{FF2B5EF4-FFF2-40B4-BE49-F238E27FC236}">
                <a16:creationId xmlns:a16="http://schemas.microsoft.com/office/drawing/2014/main" id="{78B5CFDB-A2DF-9130-368C-0A471CD20A7C}"/>
              </a:ext>
            </a:extLst>
          </p:cNvPr>
          <p:cNvSpPr txBox="1"/>
          <p:nvPr/>
        </p:nvSpPr>
        <p:spPr>
          <a:xfrm>
            <a:off x="523223" y="5530058"/>
            <a:ext cx="6273590" cy="2770074"/>
          </a:xfrm>
          <a:prstGeom prst="rect">
            <a:avLst/>
          </a:prstGeom>
          <a:noFill/>
        </p:spPr>
        <p:txBody>
          <a:bodyPr wrap="square" lIns="131657" tIns="65828" rIns="131657" bIns="65828" rtlCol="0" anchor="t">
            <a:spAutoFit/>
          </a:bodyPr>
          <a:lstStyle/>
          <a:p>
            <a:pPr algn="just" defTabSz="1316553" fontAlgn="auto">
              <a:spcBef>
                <a:spcPts val="0"/>
              </a:spcBef>
              <a:spcAft>
                <a:spcPts val="0"/>
              </a:spcAft>
              <a:defRPr/>
            </a:pPr>
            <a:r>
              <a:rPr lang="es-PE" sz="2016" b="1" spc="-29" dirty="0">
                <a:solidFill>
                  <a:srgbClr val="3A3A3A"/>
                </a:solidFill>
                <a:latin typeface="Verdana"/>
                <a:cs typeface="+mn-cs"/>
              </a:rPr>
              <a:t>Así también, contribuimos a la descarbonización con iniciativas como:</a:t>
            </a:r>
            <a:br>
              <a:rPr lang="es-PE" sz="2016" b="1" spc="-29" dirty="0">
                <a:solidFill>
                  <a:prstClr val="black"/>
                </a:solidFill>
                <a:latin typeface="Verdana"/>
                <a:cs typeface="+mn-cs"/>
              </a:rPr>
            </a:br>
            <a:endParaRPr lang="es-PE" sz="2016" b="1" spc="-29" dirty="0">
              <a:solidFill>
                <a:srgbClr val="3A3A3A"/>
              </a:solidFill>
              <a:latin typeface="Verdana"/>
              <a:ea typeface="Verdana"/>
              <a:cs typeface="+mn-cs"/>
            </a:endParaRPr>
          </a:p>
          <a:p>
            <a:pPr marL="411423" indent="-411423" algn="just" defTabSz="1316553" fontAlgn="auto">
              <a:spcBef>
                <a:spcPts val="0"/>
              </a:spcBef>
              <a:spcAft>
                <a:spcPts val="0"/>
              </a:spcAft>
              <a:buFont typeface="Wingdings"/>
              <a:buChar char="Ø"/>
              <a:defRPr/>
            </a:pPr>
            <a:r>
              <a:rPr lang="es-PE" sz="1584" b="1" spc="-29" dirty="0">
                <a:solidFill>
                  <a:srgbClr val="3A3A3A"/>
                </a:solidFill>
                <a:latin typeface="Verdana"/>
                <a:ea typeface="Verdana"/>
                <a:cs typeface="+mn-cs"/>
              </a:rPr>
              <a:t>Acuerdos comerciales para el uso exclusivo de energías renovables en Perú.</a:t>
            </a:r>
          </a:p>
          <a:p>
            <a:pPr marL="411423" indent="-411423" algn="just" defTabSz="1316553" fontAlgn="auto">
              <a:spcBef>
                <a:spcPts val="0"/>
              </a:spcBef>
              <a:spcAft>
                <a:spcPts val="0"/>
              </a:spcAft>
              <a:buFont typeface="Wingdings"/>
              <a:buChar char="Ø"/>
              <a:defRPr/>
            </a:pPr>
            <a:endParaRPr lang="es-PE" sz="1584" b="1" spc="-29" dirty="0">
              <a:solidFill>
                <a:srgbClr val="3A3A3A"/>
              </a:solidFill>
              <a:latin typeface="Verdana"/>
              <a:ea typeface="Verdana"/>
              <a:cs typeface="+mn-cs"/>
            </a:endParaRPr>
          </a:p>
          <a:p>
            <a:pPr marL="411423" indent="-411423" algn="just" defTabSz="1316553" fontAlgn="auto">
              <a:spcBef>
                <a:spcPts val="0"/>
              </a:spcBef>
              <a:spcAft>
                <a:spcPts val="0"/>
              </a:spcAft>
              <a:buFont typeface="Wingdings"/>
              <a:buChar char="Ø"/>
              <a:defRPr/>
            </a:pPr>
            <a:r>
              <a:rPr lang="es-PE" sz="1584" b="1" spc="-29" dirty="0">
                <a:solidFill>
                  <a:srgbClr val="FF5000"/>
                </a:solidFill>
                <a:latin typeface="Verdana"/>
                <a:ea typeface="Verdana"/>
                <a:cs typeface="+mn-cs"/>
              </a:rPr>
              <a:t>Inyección de hidrógeno en maquinaria automotriz.</a:t>
            </a:r>
          </a:p>
          <a:p>
            <a:pPr marL="411423" indent="-411423" algn="just" defTabSz="1316553" fontAlgn="auto">
              <a:spcBef>
                <a:spcPts val="0"/>
              </a:spcBef>
              <a:spcAft>
                <a:spcPts val="0"/>
              </a:spcAft>
              <a:buFont typeface="Wingdings"/>
              <a:buChar char="Ø"/>
              <a:defRPr/>
            </a:pPr>
            <a:endParaRPr lang="es-PE" sz="1584" b="1" spc="-29" dirty="0">
              <a:solidFill>
                <a:srgbClr val="3A3A3A"/>
              </a:solidFill>
              <a:latin typeface="Verdana"/>
              <a:ea typeface="Verdana"/>
              <a:cs typeface="+mn-cs"/>
            </a:endParaRPr>
          </a:p>
          <a:p>
            <a:pPr marL="411423" indent="-411423" algn="just" defTabSz="1316553" fontAlgn="auto">
              <a:spcBef>
                <a:spcPts val="0"/>
              </a:spcBef>
              <a:spcAft>
                <a:spcPts val="0"/>
              </a:spcAft>
              <a:buFont typeface="Wingdings"/>
              <a:buChar char="Ø"/>
              <a:defRPr/>
            </a:pPr>
            <a:r>
              <a:rPr lang="es-PE" sz="1584" b="1" spc="-29" dirty="0">
                <a:solidFill>
                  <a:srgbClr val="3A3A3A"/>
                </a:solidFill>
                <a:latin typeface="Verdana"/>
                <a:ea typeface="Verdana"/>
                <a:cs typeface="+mn-cs"/>
              </a:rPr>
              <a:t>Empleo de camiones movidos a gas natural vehicular (GNV).</a:t>
            </a:r>
          </a:p>
        </p:txBody>
      </p:sp>
      <p:sp>
        <p:nvSpPr>
          <p:cNvPr id="10" name="TextBox 9">
            <a:extLst>
              <a:ext uri="{FF2B5EF4-FFF2-40B4-BE49-F238E27FC236}">
                <a16:creationId xmlns:a16="http://schemas.microsoft.com/office/drawing/2014/main" id="{A4F8A1A6-A0D8-B8C9-1991-E6AB5D1F2DCC}"/>
              </a:ext>
            </a:extLst>
          </p:cNvPr>
          <p:cNvSpPr txBox="1"/>
          <p:nvPr/>
        </p:nvSpPr>
        <p:spPr>
          <a:xfrm>
            <a:off x="12440123" y="6471733"/>
            <a:ext cx="3949700" cy="443155"/>
          </a:xfrm>
          <a:prstGeom prst="rect">
            <a:avLst/>
          </a:prstGeom>
          <a:noFill/>
        </p:spPr>
        <p:txBody>
          <a:bodyPr rot="0" spcFirstLastPara="0" vertOverflow="overflow" horzOverflow="overflow" vert="horz" wrap="square" lIns="131657" tIns="65828" rIns="131657" bIns="65828" numCol="1" spcCol="0" rtlCol="0" fromWordArt="0" anchor="t" anchorCtr="0" forceAA="0" compatLnSpc="1">
            <a:prstTxWarp prst="textNoShape">
              <a:avLst/>
            </a:prstTxWarp>
            <a:spAutoFit/>
          </a:bodyPr>
          <a:lstStyle/>
          <a:p>
            <a:pPr defTabSz="1316553" fontAlgn="auto">
              <a:spcBef>
                <a:spcPts val="0"/>
              </a:spcBef>
              <a:spcAft>
                <a:spcPts val="0"/>
              </a:spcAft>
              <a:defRPr/>
            </a:pPr>
            <a:r>
              <a:rPr lang="es-PE" sz="2016" b="1" dirty="0">
                <a:solidFill>
                  <a:srgbClr val="3A3A3A"/>
                </a:solidFill>
                <a:latin typeface="Verdana"/>
                <a:cs typeface="+mn-cs"/>
              </a:rPr>
              <a:t>Hidrógeno (H</a:t>
            </a:r>
            <a:r>
              <a:rPr lang="es-PE" sz="2016" b="1" baseline="-25000" dirty="0">
                <a:solidFill>
                  <a:srgbClr val="3A3A3A"/>
                </a:solidFill>
                <a:latin typeface="Verdana"/>
                <a:cs typeface="+mn-cs"/>
              </a:rPr>
              <a:t>2</a:t>
            </a:r>
            <a:r>
              <a:rPr lang="es-PE" sz="2016" b="1" dirty="0">
                <a:solidFill>
                  <a:srgbClr val="3A3A3A"/>
                </a:solidFill>
                <a:latin typeface="Verdana"/>
                <a:cs typeface="+mn-cs"/>
              </a:rPr>
              <a:t>)</a:t>
            </a:r>
            <a:endParaRPr lang="en-US" sz="2016" dirty="0">
              <a:solidFill>
                <a:prstClr val="black"/>
              </a:solidFill>
              <a:latin typeface="Calibri"/>
              <a:cs typeface="+mn-cs"/>
            </a:endParaRPr>
          </a:p>
        </p:txBody>
      </p:sp>
      <p:sp>
        <p:nvSpPr>
          <p:cNvPr id="2" name="Flecha: a la derecha 1">
            <a:extLst>
              <a:ext uri="{FF2B5EF4-FFF2-40B4-BE49-F238E27FC236}">
                <a16:creationId xmlns:a16="http://schemas.microsoft.com/office/drawing/2014/main" id="{23C220D7-DB12-C4D7-AA1F-9083FB6FE4DB}"/>
              </a:ext>
            </a:extLst>
          </p:cNvPr>
          <p:cNvSpPr/>
          <p:nvPr/>
        </p:nvSpPr>
        <p:spPr>
          <a:xfrm>
            <a:off x="8230305" y="7042323"/>
            <a:ext cx="2303992" cy="658283"/>
          </a:xfrm>
          <a:prstGeom prst="rightArrow">
            <a:avLst/>
          </a:prstGeom>
          <a:solidFill>
            <a:srgbClr val="FF5000"/>
          </a:solidFill>
          <a:ln>
            <a:solidFill>
              <a:srgbClr val="FF5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grpSp>
        <p:nvGrpSpPr>
          <p:cNvPr id="6" name="Agrupar 43">
            <a:extLst>
              <a:ext uri="{FF2B5EF4-FFF2-40B4-BE49-F238E27FC236}">
                <a16:creationId xmlns:a16="http://schemas.microsoft.com/office/drawing/2014/main" id="{34E9EF4F-C953-0250-734F-B9337E17E883}"/>
              </a:ext>
            </a:extLst>
          </p:cNvPr>
          <p:cNvGrpSpPr>
            <a:grpSpLocks/>
          </p:cNvGrpSpPr>
          <p:nvPr/>
        </p:nvGrpSpPr>
        <p:grpSpPr bwMode="auto">
          <a:xfrm>
            <a:off x="8973390" y="6509745"/>
            <a:ext cx="642808" cy="615826"/>
            <a:chOff x="12672980" y="3474720"/>
            <a:chExt cx="642532" cy="615772"/>
          </a:xfrm>
        </p:grpSpPr>
        <p:grpSp>
          <p:nvGrpSpPr>
            <p:cNvPr id="7" name="Agrupar 44">
              <a:extLst>
                <a:ext uri="{FF2B5EF4-FFF2-40B4-BE49-F238E27FC236}">
                  <a16:creationId xmlns:a16="http://schemas.microsoft.com/office/drawing/2014/main" id="{FBB0033B-E268-7200-E4D1-2D790DEEF54E}"/>
                </a:ext>
              </a:extLst>
            </p:cNvPr>
            <p:cNvGrpSpPr>
              <a:grpSpLocks/>
            </p:cNvGrpSpPr>
            <p:nvPr/>
          </p:nvGrpSpPr>
          <p:grpSpPr bwMode="auto">
            <a:xfrm>
              <a:off x="12672980" y="3474720"/>
              <a:ext cx="642532" cy="615772"/>
              <a:chOff x="-10932013" y="493829"/>
              <a:chExt cx="7418275" cy="7109321"/>
            </a:xfrm>
          </p:grpSpPr>
          <p:sp>
            <p:nvSpPr>
              <p:cNvPr id="13" name="Forma Livre: Forma 46">
                <a:extLst>
                  <a:ext uri="{FF2B5EF4-FFF2-40B4-BE49-F238E27FC236}">
                    <a16:creationId xmlns:a16="http://schemas.microsoft.com/office/drawing/2014/main" id="{A0E133EC-A7DF-E4EC-BB94-ABF7FA8CD671}"/>
                  </a:ext>
                </a:extLst>
              </p:cNvPr>
              <p:cNvSpPr>
                <a:spLocks/>
              </p:cNvSpPr>
              <p:nvPr/>
            </p:nvSpPr>
            <p:spPr bwMode="auto">
              <a:xfrm>
                <a:off x="-8086724" y="493829"/>
                <a:ext cx="3767388" cy="3340411"/>
              </a:xfrm>
              <a:custGeom>
                <a:avLst/>
                <a:gdLst>
                  <a:gd name="T0" fmla="*/ 1823503 w 3767388"/>
                  <a:gd name="T1" fmla="*/ 3325460 h 3340411"/>
                  <a:gd name="T2" fmla="*/ 1943863 w 3767388"/>
                  <a:gd name="T3" fmla="*/ 3325460 h 3340411"/>
                  <a:gd name="T4" fmla="*/ 3764266 w 3767388"/>
                  <a:gd name="T5" fmla="*/ 1206079 h 3340411"/>
                  <a:gd name="T6" fmla="*/ 3312485 w 3767388"/>
                  <a:gd name="T7" fmla="*/ 206108 h 3340411"/>
                  <a:gd name="T8" fmla="*/ 1883610 w 3767388"/>
                  <a:gd name="T9" fmla="*/ 398178 h 3340411"/>
                  <a:gd name="T10" fmla="*/ 454862 w 3767388"/>
                  <a:gd name="T11" fmla="*/ 206057 h 3340411"/>
                  <a:gd name="T12" fmla="*/ 3132 w 3767388"/>
                  <a:gd name="T13" fmla="*/ 1206028 h 3340411"/>
                  <a:gd name="T14" fmla="*/ 1823535 w 3767388"/>
                  <a:gd name="T15" fmla="*/ 3325536 h 3340411"/>
                  <a:gd name="T16" fmla="*/ 605488 w 3767388"/>
                  <a:gd name="T17" fmla="*/ 414771 h 3340411"/>
                  <a:gd name="T18" fmla="*/ 1049080 w 3767388"/>
                  <a:gd name="T19" fmla="*/ 258997 h 3340411"/>
                  <a:gd name="T20" fmla="*/ 1780212 w 3767388"/>
                  <a:gd name="T21" fmla="*/ 673390 h 3340411"/>
                  <a:gd name="T22" fmla="*/ 1987211 w 3767388"/>
                  <a:gd name="T23" fmla="*/ 673390 h 3340411"/>
                  <a:gd name="T24" fmla="*/ 3161935 w 3767388"/>
                  <a:gd name="T25" fmla="*/ 414720 h 3340411"/>
                  <a:gd name="T26" fmla="*/ 3507595 w 3767388"/>
                  <a:gd name="T27" fmla="*/ 1188204 h 3340411"/>
                  <a:gd name="T28" fmla="*/ 1883718 w 3767388"/>
                  <a:gd name="T29" fmla="*/ 3065736 h 3340411"/>
                  <a:gd name="T30" fmla="*/ 259841 w 3767388"/>
                  <a:gd name="T31" fmla="*/ 1188204 h 3340411"/>
                  <a:gd name="T32" fmla="*/ 605501 w 3767388"/>
                  <a:gd name="T33" fmla="*/ 414720 h 33404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67388" h="3340411">
                    <a:moveTo>
                      <a:pt x="1823503" y="3325460"/>
                    </a:moveTo>
                    <a:cubicBezTo>
                      <a:pt x="1861143" y="3345395"/>
                      <a:pt x="1906222" y="3345395"/>
                      <a:pt x="1943863" y="3325460"/>
                    </a:cubicBezTo>
                    <a:cubicBezTo>
                      <a:pt x="3047923" y="2741126"/>
                      <a:pt x="3711452" y="1968569"/>
                      <a:pt x="3764266" y="1206079"/>
                    </a:cubicBezTo>
                    <a:cubicBezTo>
                      <a:pt x="3792533" y="798186"/>
                      <a:pt x="3627840" y="433738"/>
                      <a:pt x="3312485" y="206108"/>
                    </a:cubicBezTo>
                    <a:cubicBezTo>
                      <a:pt x="2723885" y="-218695"/>
                      <a:pt x="2170286" y="97800"/>
                      <a:pt x="1883610" y="398178"/>
                    </a:cubicBezTo>
                    <a:cubicBezTo>
                      <a:pt x="1596921" y="97701"/>
                      <a:pt x="1043374" y="-218644"/>
                      <a:pt x="454862" y="206057"/>
                    </a:cubicBezTo>
                    <a:cubicBezTo>
                      <a:pt x="139456" y="433636"/>
                      <a:pt x="-25178" y="798136"/>
                      <a:pt x="3132" y="1206028"/>
                    </a:cubicBezTo>
                    <a:cubicBezTo>
                      <a:pt x="55848" y="1968594"/>
                      <a:pt x="719385" y="2741037"/>
                      <a:pt x="1823535" y="3325536"/>
                    </a:cubicBezTo>
                    <a:lnTo>
                      <a:pt x="1823503" y="3325460"/>
                    </a:lnTo>
                    <a:close/>
                    <a:moveTo>
                      <a:pt x="605488" y="414771"/>
                    </a:moveTo>
                    <a:cubicBezTo>
                      <a:pt x="762099" y="301752"/>
                      <a:pt x="911867" y="258997"/>
                      <a:pt x="1049080" y="258997"/>
                    </a:cubicBezTo>
                    <a:cubicBezTo>
                      <a:pt x="1464602" y="258997"/>
                      <a:pt x="1763847" y="651516"/>
                      <a:pt x="1780212" y="673390"/>
                    </a:cubicBezTo>
                    <a:cubicBezTo>
                      <a:pt x="1828762" y="739000"/>
                      <a:pt x="1938613" y="739000"/>
                      <a:pt x="1987211" y="673390"/>
                    </a:cubicBezTo>
                    <a:cubicBezTo>
                      <a:pt x="2008932" y="643933"/>
                      <a:pt x="2527962" y="-42710"/>
                      <a:pt x="3161935" y="414720"/>
                    </a:cubicBezTo>
                    <a:cubicBezTo>
                      <a:pt x="3407110" y="591669"/>
                      <a:pt x="3529951" y="866348"/>
                      <a:pt x="3507595" y="1188204"/>
                    </a:cubicBezTo>
                    <a:cubicBezTo>
                      <a:pt x="3462615" y="1836917"/>
                      <a:pt x="2857206" y="2535446"/>
                      <a:pt x="1883718" y="3065736"/>
                    </a:cubicBezTo>
                    <a:cubicBezTo>
                      <a:pt x="910179" y="2535446"/>
                      <a:pt x="304783" y="1836904"/>
                      <a:pt x="259841" y="1188204"/>
                    </a:cubicBezTo>
                    <a:cubicBezTo>
                      <a:pt x="237525" y="866310"/>
                      <a:pt x="360265" y="591669"/>
                      <a:pt x="605501" y="414720"/>
                    </a:cubicBezTo>
                    <a:lnTo>
                      <a:pt x="605488" y="414771"/>
                    </a:lnTo>
                    <a:close/>
                  </a:path>
                </a:pathLst>
              </a:custGeom>
              <a:solidFill>
                <a:srgbClr val="352F35"/>
              </a:solidFill>
              <a:ln>
                <a:noFill/>
              </a:ln>
              <a:extLst>
                <a:ext uri="{91240B29-F687-4F45-9708-019B960494DF}">
                  <a14:hiddenLine xmlns:a14="http://schemas.microsoft.com/office/drawing/2010/main" w="12695" cap="flat">
                    <a:solidFill>
                      <a:srgbClr val="000000"/>
                    </a:solidFill>
                    <a:prstDash val="solid"/>
                    <a:miter lim="800000"/>
                    <a:headEnd/>
                    <a:tailEnd/>
                  </a14:hiddenLine>
                </a:ext>
              </a:extLst>
            </p:spPr>
            <p:txBody>
              <a:bodyPr anchor="ctr"/>
              <a:lstStyle/>
              <a:p>
                <a:pPr defTabSz="1316553" fontAlgn="auto">
                  <a:spcBef>
                    <a:spcPts val="0"/>
                  </a:spcBef>
                  <a:spcAft>
                    <a:spcPts val="0"/>
                  </a:spcAft>
                  <a:defRPr/>
                </a:pPr>
                <a:endParaRPr lang="es-PE">
                  <a:solidFill>
                    <a:prstClr val="black"/>
                  </a:solidFill>
                  <a:latin typeface="Calibri"/>
                  <a:cs typeface="+mn-cs"/>
                </a:endParaRPr>
              </a:p>
            </p:txBody>
          </p:sp>
          <p:sp>
            <p:nvSpPr>
              <p:cNvPr id="14" name="Forma Livre: Forma 47">
                <a:extLst>
                  <a:ext uri="{FF2B5EF4-FFF2-40B4-BE49-F238E27FC236}">
                    <a16:creationId xmlns:a16="http://schemas.microsoft.com/office/drawing/2014/main" id="{64A46B5D-BFF9-8E2E-7E64-BA7E0FA26EC7}"/>
                  </a:ext>
                </a:extLst>
              </p:cNvPr>
              <p:cNvSpPr>
                <a:spLocks/>
              </p:cNvSpPr>
              <p:nvPr/>
            </p:nvSpPr>
            <p:spPr bwMode="auto">
              <a:xfrm>
                <a:off x="-10932013" y="3961535"/>
                <a:ext cx="7418275" cy="3641615"/>
              </a:xfrm>
              <a:custGeom>
                <a:avLst/>
                <a:gdLst>
                  <a:gd name="T0" fmla="*/ 7408600 w 7418275"/>
                  <a:gd name="T1" fmla="*/ 253598 h 3641615"/>
                  <a:gd name="T2" fmla="*/ 7256801 w 7418275"/>
                  <a:gd name="T3" fmla="*/ 47588 h 3641615"/>
                  <a:gd name="T4" fmla="*/ 7254420 w 7418275"/>
                  <a:gd name="T5" fmla="*/ 46199 h 3641615"/>
                  <a:gd name="T6" fmla="*/ 7254470 w 7418275"/>
                  <a:gd name="T7" fmla="*/ 46199 h 3641615"/>
                  <a:gd name="T8" fmla="*/ 7033835 w 7418275"/>
                  <a:gd name="T9" fmla="*/ 4047 h 3641615"/>
                  <a:gd name="T10" fmla="*/ 6836852 w 7418275"/>
                  <a:gd name="T11" fmla="*/ 112057 h 3641615"/>
                  <a:gd name="T12" fmla="*/ 5507510 w 7418275"/>
                  <a:gd name="T13" fmla="*/ 1614946 h 3641615"/>
                  <a:gd name="T14" fmla="*/ 3120509 w 7418275"/>
                  <a:gd name="T15" fmla="*/ 1614946 h 3641615"/>
                  <a:gd name="T16" fmla="*/ 3028665 w 7418275"/>
                  <a:gd name="T17" fmla="*/ 1577753 h 3641615"/>
                  <a:gd name="T18" fmla="*/ 2990480 w 7418275"/>
                  <a:gd name="T19" fmla="*/ 1486256 h 3641615"/>
                  <a:gd name="T20" fmla="*/ 3028665 w 7418275"/>
                  <a:gd name="T21" fmla="*/ 1394760 h 3641615"/>
                  <a:gd name="T22" fmla="*/ 3120509 w 7418275"/>
                  <a:gd name="T23" fmla="*/ 1357566 h 3641615"/>
                  <a:gd name="T24" fmla="*/ 4696905 w 7418275"/>
                  <a:gd name="T25" fmla="*/ 1357566 h 3641615"/>
                  <a:gd name="T26" fmla="*/ 5039835 w 7418275"/>
                  <a:gd name="T27" fmla="*/ 1217167 h 3641615"/>
                  <a:gd name="T28" fmla="*/ 5182113 w 7418275"/>
                  <a:gd name="T29" fmla="*/ 874986 h 3641615"/>
                  <a:gd name="T30" fmla="*/ 5039835 w 7418275"/>
                  <a:gd name="T31" fmla="*/ 532856 h 3641615"/>
                  <a:gd name="T32" fmla="*/ 4696905 w 7418275"/>
                  <a:gd name="T33" fmla="*/ 392457 h 3641615"/>
                  <a:gd name="T34" fmla="*/ 2239952 w 7418275"/>
                  <a:gd name="T35" fmla="*/ 392457 h 3641615"/>
                  <a:gd name="T36" fmla="*/ 1784997 w 7418275"/>
                  <a:gd name="T37" fmla="*/ 580908 h 3641615"/>
                  <a:gd name="T38" fmla="*/ 37720 w 7418275"/>
                  <a:gd name="T39" fmla="*/ 2328185 h 3641615"/>
                  <a:gd name="T40" fmla="*/ 37671 w 7418275"/>
                  <a:gd name="T41" fmla="*/ 2510187 h 3641615"/>
                  <a:gd name="T42" fmla="*/ 219673 w 7418275"/>
                  <a:gd name="T43" fmla="*/ 2510187 h 3641615"/>
                  <a:gd name="T44" fmla="*/ 1966950 w 7418275"/>
                  <a:gd name="T45" fmla="*/ 762911 h 3641615"/>
                  <a:gd name="T46" fmla="*/ 2239902 w 7418275"/>
                  <a:gd name="T47" fmla="*/ 649892 h 3641615"/>
                  <a:gd name="T48" fmla="*/ 4696855 w 7418275"/>
                  <a:gd name="T49" fmla="*/ 649892 h 3641615"/>
                  <a:gd name="T50" fmla="*/ 4857238 w 7418275"/>
                  <a:gd name="T51" fmla="*/ 715204 h 3641615"/>
                  <a:gd name="T52" fmla="*/ 4923839 w 7418275"/>
                  <a:gd name="T53" fmla="*/ 875090 h 3641615"/>
                  <a:gd name="T54" fmla="*/ 4857238 w 7418275"/>
                  <a:gd name="T55" fmla="*/ 1034977 h 3641615"/>
                  <a:gd name="T56" fmla="*/ 4696855 w 7418275"/>
                  <a:gd name="T57" fmla="*/ 1100289 h 3641615"/>
                  <a:gd name="T58" fmla="*/ 3120460 w 7418275"/>
                  <a:gd name="T59" fmla="*/ 1100289 h 3641615"/>
                  <a:gd name="T60" fmla="*/ 2845920 w 7418275"/>
                  <a:gd name="T61" fmla="*/ 1212514 h 3641615"/>
                  <a:gd name="T62" fmla="*/ 2732007 w 7418275"/>
                  <a:gd name="T63" fmla="*/ 1486304 h 3641615"/>
                  <a:gd name="T64" fmla="*/ 2845920 w 7418275"/>
                  <a:gd name="T65" fmla="*/ 1760146 h 3641615"/>
                  <a:gd name="T66" fmla="*/ 3120460 w 7418275"/>
                  <a:gd name="T67" fmla="*/ 1872371 h 3641615"/>
                  <a:gd name="T68" fmla="*/ 5565479 w 7418275"/>
                  <a:gd name="T69" fmla="*/ 1872371 h 3641615"/>
                  <a:gd name="T70" fmla="*/ 5661886 w 7418275"/>
                  <a:gd name="T71" fmla="*/ 1828879 h 3641615"/>
                  <a:gd name="T72" fmla="*/ 7029695 w 7418275"/>
                  <a:gd name="T73" fmla="*/ 282698 h 3641615"/>
                  <a:gd name="T74" fmla="*/ 7029645 w 7418275"/>
                  <a:gd name="T75" fmla="*/ 282698 h 3641615"/>
                  <a:gd name="T76" fmla="*/ 7123970 w 7418275"/>
                  <a:gd name="T77" fmla="*/ 268119 h 3641615"/>
                  <a:gd name="T78" fmla="*/ 7125556 w 7418275"/>
                  <a:gd name="T79" fmla="*/ 269061 h 3641615"/>
                  <a:gd name="T80" fmla="*/ 7125507 w 7418275"/>
                  <a:gd name="T81" fmla="*/ 269061 h 3641615"/>
                  <a:gd name="T82" fmla="*/ 7149608 w 7418275"/>
                  <a:gd name="T83" fmla="*/ 371517 h 3641615"/>
                  <a:gd name="T84" fmla="*/ 5863938 w 7418275"/>
                  <a:gd name="T85" fmla="*/ 2460683 h 3641615"/>
                  <a:gd name="T86" fmla="*/ 5535151 w 7418275"/>
                  <a:gd name="T87" fmla="*/ 2644374 h 3641615"/>
                  <a:gd name="T88" fmla="*/ 2541433 w 7418275"/>
                  <a:gd name="T89" fmla="*/ 2644374 h 3641615"/>
                  <a:gd name="T90" fmla="*/ 2450482 w 7418275"/>
                  <a:gd name="T91" fmla="*/ 2682064 h 3641615"/>
                  <a:gd name="T92" fmla="*/ 1710577 w 7418275"/>
                  <a:gd name="T93" fmla="*/ 3421968 h 3641615"/>
                  <a:gd name="T94" fmla="*/ 1710577 w 7418275"/>
                  <a:gd name="T95" fmla="*/ 3603919 h 3641615"/>
                  <a:gd name="T96" fmla="*/ 1892529 w 7418275"/>
                  <a:gd name="T97" fmla="*/ 3603919 h 3641615"/>
                  <a:gd name="T98" fmla="*/ 2594791 w 7418275"/>
                  <a:gd name="T99" fmla="*/ 2901708 h 3641615"/>
                  <a:gd name="T100" fmla="*/ 5535188 w 7418275"/>
                  <a:gd name="T101" fmla="*/ 2901708 h 3641615"/>
                  <a:gd name="T102" fmla="*/ 6083175 w 7418275"/>
                  <a:gd name="T103" fmla="*/ 2595481 h 3641615"/>
                  <a:gd name="T104" fmla="*/ 7368845 w 7418275"/>
                  <a:gd name="T105" fmla="*/ 506315 h 3641615"/>
                  <a:gd name="T106" fmla="*/ 7368795 w 7418275"/>
                  <a:gd name="T107" fmla="*/ 506315 h 3641615"/>
                  <a:gd name="T108" fmla="*/ 7408666 w 7418275"/>
                  <a:gd name="T109" fmla="*/ 253650 h 364161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418275" h="3641615">
                    <a:moveTo>
                      <a:pt x="7408600" y="253598"/>
                    </a:moveTo>
                    <a:cubicBezTo>
                      <a:pt x="7387772" y="167308"/>
                      <a:pt x="7333073" y="93025"/>
                      <a:pt x="7256801" y="47588"/>
                    </a:cubicBezTo>
                    <a:cubicBezTo>
                      <a:pt x="7256057" y="47142"/>
                      <a:pt x="7255263" y="46646"/>
                      <a:pt x="7254420" y="46199"/>
                    </a:cubicBezTo>
                    <a:lnTo>
                      <a:pt x="7254470" y="46199"/>
                    </a:lnTo>
                    <a:cubicBezTo>
                      <a:pt x="7188066" y="6923"/>
                      <a:pt x="7110008" y="-7954"/>
                      <a:pt x="7033835" y="4047"/>
                    </a:cubicBezTo>
                    <a:cubicBezTo>
                      <a:pt x="6957614" y="16048"/>
                      <a:pt x="6887990" y="54233"/>
                      <a:pt x="6836852" y="112057"/>
                    </a:cubicBezTo>
                    <a:lnTo>
                      <a:pt x="5507510" y="1614946"/>
                    </a:lnTo>
                    <a:lnTo>
                      <a:pt x="3120509" y="1614946"/>
                    </a:lnTo>
                    <a:cubicBezTo>
                      <a:pt x="3086143" y="1615294"/>
                      <a:pt x="3053065" y="1601905"/>
                      <a:pt x="3028665" y="1577753"/>
                    </a:cubicBezTo>
                    <a:cubicBezTo>
                      <a:pt x="3004216" y="1553552"/>
                      <a:pt x="2990480" y="1520623"/>
                      <a:pt x="2990480" y="1486256"/>
                    </a:cubicBezTo>
                    <a:cubicBezTo>
                      <a:pt x="2990480" y="1451890"/>
                      <a:pt x="3004216" y="1418960"/>
                      <a:pt x="3028665" y="1394760"/>
                    </a:cubicBezTo>
                    <a:cubicBezTo>
                      <a:pt x="3053065" y="1370609"/>
                      <a:pt x="3086141" y="1357220"/>
                      <a:pt x="3120509" y="1357566"/>
                    </a:cubicBezTo>
                    <a:lnTo>
                      <a:pt x="4696905" y="1357566"/>
                    </a:lnTo>
                    <a:cubicBezTo>
                      <a:pt x="4825345" y="1358260"/>
                      <a:pt x="4948783" y="1307726"/>
                      <a:pt x="5039835" y="1217167"/>
                    </a:cubicBezTo>
                    <a:cubicBezTo>
                      <a:pt x="5130935" y="1126613"/>
                      <a:pt x="5182113" y="1003426"/>
                      <a:pt x="5182113" y="874986"/>
                    </a:cubicBezTo>
                    <a:cubicBezTo>
                      <a:pt x="5182113" y="746597"/>
                      <a:pt x="5130935" y="623413"/>
                      <a:pt x="5039835" y="532856"/>
                    </a:cubicBezTo>
                    <a:cubicBezTo>
                      <a:pt x="4948785" y="442302"/>
                      <a:pt x="4825345" y="391772"/>
                      <a:pt x="4696905" y="392457"/>
                    </a:cubicBezTo>
                    <a:lnTo>
                      <a:pt x="2239952" y="392457"/>
                    </a:lnTo>
                    <a:cubicBezTo>
                      <a:pt x="2069210" y="391961"/>
                      <a:pt x="1905401" y="459852"/>
                      <a:pt x="1784997" y="580908"/>
                    </a:cubicBezTo>
                    <a:lnTo>
                      <a:pt x="37720" y="2328185"/>
                    </a:lnTo>
                    <a:cubicBezTo>
                      <a:pt x="-12565" y="2378421"/>
                      <a:pt x="-12565" y="2459901"/>
                      <a:pt x="37671" y="2510187"/>
                    </a:cubicBezTo>
                    <a:cubicBezTo>
                      <a:pt x="87907" y="2560473"/>
                      <a:pt x="169437" y="2560473"/>
                      <a:pt x="219673" y="2510187"/>
                    </a:cubicBezTo>
                    <a:lnTo>
                      <a:pt x="1966950" y="762911"/>
                    </a:lnTo>
                    <a:cubicBezTo>
                      <a:pt x="2039205" y="690308"/>
                      <a:pt x="2137501" y="649594"/>
                      <a:pt x="2239902" y="649892"/>
                    </a:cubicBezTo>
                    <a:lnTo>
                      <a:pt x="4696855" y="649892"/>
                    </a:lnTo>
                    <a:cubicBezTo>
                      <a:pt x="4756862" y="649396"/>
                      <a:pt x="4814635" y="672902"/>
                      <a:pt x="4857238" y="715204"/>
                    </a:cubicBezTo>
                    <a:cubicBezTo>
                      <a:pt x="4899886" y="757505"/>
                      <a:pt x="4923839" y="815032"/>
                      <a:pt x="4923839" y="875090"/>
                    </a:cubicBezTo>
                    <a:cubicBezTo>
                      <a:pt x="4923839" y="935149"/>
                      <a:pt x="4899886" y="992672"/>
                      <a:pt x="4857238" y="1034977"/>
                    </a:cubicBezTo>
                    <a:cubicBezTo>
                      <a:pt x="4814638" y="1077229"/>
                      <a:pt x="4756864" y="1100785"/>
                      <a:pt x="4696855" y="1100289"/>
                    </a:cubicBezTo>
                    <a:lnTo>
                      <a:pt x="3120460" y="1100289"/>
                    </a:lnTo>
                    <a:cubicBezTo>
                      <a:pt x="3017655" y="1099644"/>
                      <a:pt x="2918868" y="1140061"/>
                      <a:pt x="2845920" y="1212514"/>
                    </a:cubicBezTo>
                    <a:cubicBezTo>
                      <a:pt x="2773020" y="1284967"/>
                      <a:pt x="2732007" y="1383509"/>
                      <a:pt x="2732007" y="1486304"/>
                    </a:cubicBezTo>
                    <a:cubicBezTo>
                      <a:pt x="2732007" y="1589109"/>
                      <a:pt x="2773020" y="1687642"/>
                      <a:pt x="2845920" y="1760146"/>
                    </a:cubicBezTo>
                    <a:cubicBezTo>
                      <a:pt x="2918870" y="1832599"/>
                      <a:pt x="3017652" y="1873016"/>
                      <a:pt x="3120460" y="1872371"/>
                    </a:cubicBezTo>
                    <a:lnTo>
                      <a:pt x="5565479" y="1872371"/>
                    </a:lnTo>
                    <a:cubicBezTo>
                      <a:pt x="5602325" y="1872322"/>
                      <a:pt x="5637437" y="1856502"/>
                      <a:pt x="5661886" y="1828879"/>
                    </a:cubicBezTo>
                    <a:lnTo>
                      <a:pt x="7029695" y="282698"/>
                    </a:lnTo>
                    <a:lnTo>
                      <a:pt x="7029645" y="282698"/>
                    </a:lnTo>
                    <a:cubicBezTo>
                      <a:pt x="7053449" y="255720"/>
                      <a:pt x="7093123" y="249571"/>
                      <a:pt x="7123970" y="268119"/>
                    </a:cubicBezTo>
                    <a:cubicBezTo>
                      <a:pt x="7124465" y="268417"/>
                      <a:pt x="7125011" y="268764"/>
                      <a:pt x="7125556" y="269061"/>
                    </a:cubicBezTo>
                    <a:lnTo>
                      <a:pt x="7125507" y="269061"/>
                    </a:lnTo>
                    <a:cubicBezTo>
                      <a:pt x="7160370" y="290782"/>
                      <a:pt x="7171181" y="336555"/>
                      <a:pt x="7149608" y="371517"/>
                    </a:cubicBezTo>
                    <a:lnTo>
                      <a:pt x="5863938" y="2460683"/>
                    </a:lnTo>
                    <a:cubicBezTo>
                      <a:pt x="5793319" y="2574446"/>
                      <a:pt x="5669088" y="2643878"/>
                      <a:pt x="5535151" y="2644374"/>
                    </a:cubicBezTo>
                    <a:lnTo>
                      <a:pt x="2541433" y="2644374"/>
                    </a:lnTo>
                    <a:cubicBezTo>
                      <a:pt x="2507314" y="2644374"/>
                      <a:pt x="2474634" y="2657962"/>
                      <a:pt x="2450482" y="2682064"/>
                    </a:cubicBezTo>
                    <a:lnTo>
                      <a:pt x="1710577" y="3421968"/>
                    </a:lnTo>
                    <a:cubicBezTo>
                      <a:pt x="1660341" y="3472204"/>
                      <a:pt x="1660341" y="3553684"/>
                      <a:pt x="1710577" y="3603919"/>
                    </a:cubicBezTo>
                    <a:cubicBezTo>
                      <a:pt x="1760813" y="3654205"/>
                      <a:pt x="1842293" y="3654156"/>
                      <a:pt x="1892529" y="3603919"/>
                    </a:cubicBezTo>
                    <a:lnTo>
                      <a:pt x="2594791" y="2901708"/>
                    </a:lnTo>
                    <a:lnTo>
                      <a:pt x="5535188" y="2901708"/>
                    </a:lnTo>
                    <a:cubicBezTo>
                      <a:pt x="5758450" y="2900915"/>
                      <a:pt x="5965501" y="2785168"/>
                      <a:pt x="6083175" y="2595481"/>
                    </a:cubicBezTo>
                    <a:lnTo>
                      <a:pt x="7368845" y="506315"/>
                    </a:lnTo>
                    <a:lnTo>
                      <a:pt x="7368795" y="506315"/>
                    </a:lnTo>
                    <a:cubicBezTo>
                      <a:pt x="7415560" y="430886"/>
                      <a:pt x="7429942" y="339789"/>
                      <a:pt x="7408666" y="253650"/>
                    </a:cubicBezTo>
                    <a:lnTo>
                      <a:pt x="7408600" y="253598"/>
                    </a:lnTo>
                    <a:close/>
                  </a:path>
                </a:pathLst>
              </a:custGeom>
              <a:solidFill>
                <a:srgbClr val="352F35"/>
              </a:solidFill>
              <a:ln>
                <a:noFill/>
              </a:ln>
              <a:extLst>
                <a:ext uri="{91240B29-F687-4F45-9708-019B960494DF}">
                  <a14:hiddenLine xmlns:a14="http://schemas.microsoft.com/office/drawing/2010/main" w="12695" cap="flat">
                    <a:solidFill>
                      <a:srgbClr val="000000"/>
                    </a:solidFill>
                    <a:prstDash val="solid"/>
                    <a:miter lim="800000"/>
                    <a:headEnd/>
                    <a:tailEnd/>
                  </a14:hiddenLine>
                </a:ext>
              </a:extLst>
            </p:spPr>
            <p:txBody>
              <a:bodyPr anchor="ctr"/>
              <a:lstStyle/>
              <a:p>
                <a:pPr defTabSz="1316553" fontAlgn="auto">
                  <a:spcBef>
                    <a:spcPts val="0"/>
                  </a:spcBef>
                  <a:spcAft>
                    <a:spcPts val="0"/>
                  </a:spcAft>
                  <a:defRPr/>
                </a:pPr>
                <a:endParaRPr lang="es-PE">
                  <a:solidFill>
                    <a:prstClr val="black"/>
                  </a:solidFill>
                  <a:latin typeface="Calibri"/>
                  <a:cs typeface="+mn-cs"/>
                </a:endParaRPr>
              </a:p>
            </p:txBody>
          </p:sp>
        </p:grpSp>
        <p:cxnSp>
          <p:nvCxnSpPr>
            <p:cNvPr id="8" name="Conector reto 45">
              <a:extLst>
                <a:ext uri="{FF2B5EF4-FFF2-40B4-BE49-F238E27FC236}">
                  <a16:creationId xmlns:a16="http://schemas.microsoft.com/office/drawing/2014/main" id="{53BF57FB-F99B-22AE-915F-9A7507F62BB7}"/>
                </a:ext>
              </a:extLst>
            </p:cNvPr>
            <p:cNvCxnSpPr>
              <a:cxnSpLocks/>
            </p:cNvCxnSpPr>
            <p:nvPr/>
          </p:nvCxnSpPr>
          <p:spPr>
            <a:xfrm>
              <a:off x="12903022" y="4015901"/>
              <a:ext cx="217351" cy="0"/>
            </a:xfrm>
            <a:prstGeom prst="line">
              <a:avLst/>
            </a:prstGeom>
            <a:ln w="22225">
              <a:solidFill>
                <a:srgbClr val="FF5000"/>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CF0323-B3D6-B6D3-3993-B8963BDE9E30}"/>
            </a:ext>
          </a:extLst>
        </p:cNvPr>
        <p:cNvGrpSpPr/>
        <p:nvPr/>
      </p:nvGrpSpPr>
      <p:grpSpPr>
        <a:xfrm>
          <a:off x="0" y="0"/>
          <a:ext cx="0" cy="0"/>
          <a:chOff x="0" y="0"/>
          <a:chExt cx="0" cy="0"/>
        </a:xfrm>
      </p:grpSpPr>
      <p:graphicFrame>
        <p:nvGraphicFramePr>
          <p:cNvPr id="37" name="Objeto 36" hidden="1">
            <a:extLst>
              <a:ext uri="{FF2B5EF4-FFF2-40B4-BE49-F238E27FC236}">
                <a16:creationId xmlns:a16="http://schemas.microsoft.com/office/drawing/2014/main" id="{CB391613-421B-6A93-8683-5355881DC682}"/>
              </a:ext>
            </a:extLst>
          </p:cNvPr>
          <p:cNvGraphicFramePr>
            <a:graphicFrameLocks noChangeAspect="1"/>
          </p:cNvGraphicFramePr>
          <p:nvPr>
            <p:custDataLst>
              <p:tags r:id="rId1"/>
            </p:custDataLst>
          </p:nvPr>
        </p:nvGraphicFramePr>
        <p:xfrm>
          <a:off x="4051" y="2287"/>
          <a:ext cx="2286" cy="2286"/>
        </p:xfrm>
        <a:graphic>
          <a:graphicData uri="http://schemas.openxmlformats.org/presentationml/2006/ole">
            <mc:AlternateContent xmlns:mc="http://schemas.openxmlformats.org/markup-compatibility/2006">
              <mc:Choice xmlns:v="urn:schemas-microsoft-com:vml" Requires="v">
                <p:oleObj name="Slide do think-cell" r:id="rId4" imgW="470" imgH="469" progId="TCLayout.ActiveDocument.1">
                  <p:embed/>
                </p:oleObj>
              </mc:Choice>
              <mc:Fallback>
                <p:oleObj name="Slide do think-cell" r:id="rId4" imgW="470" imgH="469" progId="TCLayout.ActiveDocument.1">
                  <p:embed/>
                  <p:pic>
                    <p:nvPicPr>
                      <p:cNvPr id="37" name="Objeto 36" hidden="1">
                        <a:extLst>
                          <a:ext uri="{FF2B5EF4-FFF2-40B4-BE49-F238E27FC236}">
                            <a16:creationId xmlns:a16="http://schemas.microsoft.com/office/drawing/2014/main" id="{CB391613-421B-6A93-8683-5355881DC682}"/>
                          </a:ext>
                        </a:extLst>
                      </p:cNvPr>
                      <p:cNvPicPr/>
                      <p:nvPr/>
                    </p:nvPicPr>
                    <p:blipFill>
                      <a:blip r:embed="rId5"/>
                      <a:stretch>
                        <a:fillRect/>
                      </a:stretch>
                    </p:blipFill>
                    <p:spPr>
                      <a:xfrm>
                        <a:off x="4051" y="2287"/>
                        <a:ext cx="2286" cy="2286"/>
                      </a:xfrm>
                      <a:prstGeom prst="rect">
                        <a:avLst/>
                      </a:prstGeom>
                    </p:spPr>
                  </p:pic>
                </p:oleObj>
              </mc:Fallback>
            </mc:AlternateContent>
          </a:graphicData>
        </a:graphic>
      </p:graphicFrame>
      <p:sp>
        <p:nvSpPr>
          <p:cNvPr id="207" name="Retângulo 206" hidden="1">
            <a:extLst>
              <a:ext uri="{FF2B5EF4-FFF2-40B4-BE49-F238E27FC236}">
                <a16:creationId xmlns:a16="http://schemas.microsoft.com/office/drawing/2014/main" id="{249265A3-79FF-0857-0140-079ADBDB693E}"/>
              </a:ext>
            </a:extLst>
          </p:cNvPr>
          <p:cNvSpPr/>
          <p:nvPr/>
        </p:nvSpPr>
        <p:spPr>
          <a:xfrm>
            <a:off x="1764" y="0"/>
            <a:ext cx="228571" cy="2285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316553" fontAlgn="auto">
              <a:spcBef>
                <a:spcPts val="0"/>
              </a:spcBef>
              <a:spcAft>
                <a:spcPts val="0"/>
              </a:spcAft>
              <a:defRPr/>
            </a:pPr>
            <a:endParaRPr lang="pt-BR" sz="2016" dirty="0">
              <a:solidFill>
                <a:srgbClr val="FFFFFF"/>
              </a:solidFill>
              <a:latin typeface="Calibri" panose="020F0502020204030204"/>
            </a:endParaRPr>
          </a:p>
        </p:txBody>
      </p:sp>
      <p:sp>
        <p:nvSpPr>
          <p:cNvPr id="209" name="Retângulo 208" hidden="1">
            <a:extLst>
              <a:ext uri="{FF2B5EF4-FFF2-40B4-BE49-F238E27FC236}">
                <a16:creationId xmlns:a16="http://schemas.microsoft.com/office/drawing/2014/main" id="{20951048-9D37-EA71-2AAC-47AC9612B464}"/>
              </a:ext>
            </a:extLst>
          </p:cNvPr>
          <p:cNvSpPr/>
          <p:nvPr/>
        </p:nvSpPr>
        <p:spPr>
          <a:xfrm>
            <a:off x="1764" y="0"/>
            <a:ext cx="228571" cy="2285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316553" fontAlgn="auto">
              <a:spcBef>
                <a:spcPts val="0"/>
              </a:spcBef>
              <a:spcAft>
                <a:spcPts val="0"/>
              </a:spcAft>
              <a:defRPr/>
            </a:pPr>
            <a:endParaRPr lang="pt-BR" sz="2016" dirty="0">
              <a:solidFill>
                <a:srgbClr val="FFFFFF"/>
              </a:solidFill>
              <a:latin typeface="Calibri" panose="020F0502020204030204" pitchFamily="34" charset="0"/>
            </a:endParaRPr>
          </a:p>
        </p:txBody>
      </p:sp>
      <p:sp>
        <p:nvSpPr>
          <p:cNvPr id="225" name="Retângulo 224" hidden="1">
            <a:extLst>
              <a:ext uri="{FF2B5EF4-FFF2-40B4-BE49-F238E27FC236}">
                <a16:creationId xmlns:a16="http://schemas.microsoft.com/office/drawing/2014/main" id="{95EDFA5A-F970-6245-C6DD-10A0FDC1C2B2}"/>
              </a:ext>
            </a:extLst>
          </p:cNvPr>
          <p:cNvSpPr/>
          <p:nvPr/>
        </p:nvSpPr>
        <p:spPr>
          <a:xfrm>
            <a:off x="1764" y="0"/>
            <a:ext cx="228571" cy="2285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316553" fontAlgn="auto">
              <a:spcBef>
                <a:spcPts val="0"/>
              </a:spcBef>
              <a:spcAft>
                <a:spcPts val="0"/>
              </a:spcAft>
              <a:defRPr/>
            </a:pPr>
            <a:endParaRPr lang="pt-BR" sz="2016" dirty="0">
              <a:solidFill>
                <a:srgbClr val="FFFFFF"/>
              </a:solidFill>
              <a:latin typeface="Calibri" panose="020F0502020204030204"/>
            </a:endParaRPr>
          </a:p>
        </p:txBody>
      </p:sp>
      <p:sp>
        <p:nvSpPr>
          <p:cNvPr id="248" name="Retângulo 247" hidden="1">
            <a:extLst>
              <a:ext uri="{FF2B5EF4-FFF2-40B4-BE49-F238E27FC236}">
                <a16:creationId xmlns:a16="http://schemas.microsoft.com/office/drawing/2014/main" id="{DBF474AB-F366-FECA-9782-D03CCE30D12C}"/>
              </a:ext>
            </a:extLst>
          </p:cNvPr>
          <p:cNvSpPr/>
          <p:nvPr/>
        </p:nvSpPr>
        <p:spPr>
          <a:xfrm>
            <a:off x="1764" y="0"/>
            <a:ext cx="228571" cy="2285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316553" fontAlgn="auto">
              <a:spcBef>
                <a:spcPts val="0"/>
              </a:spcBef>
              <a:spcAft>
                <a:spcPts val="0"/>
              </a:spcAft>
              <a:defRPr/>
            </a:pPr>
            <a:endParaRPr lang="pt-BR" sz="2016" dirty="0">
              <a:solidFill>
                <a:srgbClr val="FFFFFF"/>
              </a:solidFill>
              <a:latin typeface="Calibri" panose="020F0502020204030204"/>
            </a:endParaRPr>
          </a:p>
        </p:txBody>
      </p:sp>
      <p:sp>
        <p:nvSpPr>
          <p:cNvPr id="250" name="Retângulo 249" hidden="1">
            <a:extLst>
              <a:ext uri="{FF2B5EF4-FFF2-40B4-BE49-F238E27FC236}">
                <a16:creationId xmlns:a16="http://schemas.microsoft.com/office/drawing/2014/main" id="{6D0AE51D-5AFF-6449-AD65-2B5B28616821}"/>
              </a:ext>
            </a:extLst>
          </p:cNvPr>
          <p:cNvSpPr/>
          <p:nvPr/>
        </p:nvSpPr>
        <p:spPr>
          <a:xfrm>
            <a:off x="1764" y="0"/>
            <a:ext cx="228571" cy="2285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316553" fontAlgn="auto">
              <a:spcBef>
                <a:spcPts val="0"/>
              </a:spcBef>
              <a:spcAft>
                <a:spcPts val="0"/>
              </a:spcAft>
              <a:defRPr/>
            </a:pPr>
            <a:endParaRPr lang="pt-BR" sz="2016" dirty="0">
              <a:solidFill>
                <a:srgbClr val="FFFFFF"/>
              </a:solidFill>
              <a:latin typeface="Calibri" panose="020F0502020204030204"/>
            </a:endParaRPr>
          </a:p>
        </p:txBody>
      </p:sp>
      <p:sp>
        <p:nvSpPr>
          <p:cNvPr id="396" name="Retângulo 395" hidden="1">
            <a:extLst>
              <a:ext uri="{FF2B5EF4-FFF2-40B4-BE49-F238E27FC236}">
                <a16:creationId xmlns:a16="http://schemas.microsoft.com/office/drawing/2014/main" id="{8ECFF11B-8D5B-3455-45C1-DBE0C4CEAD1A}"/>
              </a:ext>
            </a:extLst>
          </p:cNvPr>
          <p:cNvSpPr/>
          <p:nvPr/>
        </p:nvSpPr>
        <p:spPr>
          <a:xfrm>
            <a:off x="1764" y="0"/>
            <a:ext cx="228571" cy="2285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316553" fontAlgn="auto">
              <a:spcBef>
                <a:spcPts val="0"/>
              </a:spcBef>
              <a:spcAft>
                <a:spcPts val="0"/>
              </a:spcAft>
              <a:defRPr/>
            </a:pPr>
            <a:endParaRPr lang="pt-BR" sz="1728" dirty="0">
              <a:solidFill>
                <a:srgbClr val="FFFFFF"/>
              </a:solidFill>
              <a:latin typeface="Votorantim Sans" panose="020B0604020202020204" charset="0"/>
              <a:sym typeface="Votorantim Sans" panose="020B0604020202020204" charset="0"/>
            </a:endParaRPr>
          </a:p>
        </p:txBody>
      </p:sp>
      <p:sp>
        <p:nvSpPr>
          <p:cNvPr id="4" name="Espaço Reservado para Texto 2">
            <a:extLst>
              <a:ext uri="{FF2B5EF4-FFF2-40B4-BE49-F238E27FC236}">
                <a16:creationId xmlns:a16="http://schemas.microsoft.com/office/drawing/2014/main" id="{1C65A4CB-80B4-5E15-5201-639FB5921A69}"/>
              </a:ext>
            </a:extLst>
          </p:cNvPr>
          <p:cNvSpPr txBox="1">
            <a:spLocks/>
          </p:cNvSpPr>
          <p:nvPr/>
        </p:nvSpPr>
        <p:spPr>
          <a:xfrm>
            <a:off x="1003875" y="222572"/>
            <a:ext cx="15550000" cy="103485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Votorantim Sans Black" panose="020B060402020202020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Verdana Regular"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Verdana Regular"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Verdana Regular"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Verdana Regular"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1316553" fontAlgn="auto">
              <a:spcBef>
                <a:spcPts val="1440"/>
              </a:spcBef>
              <a:spcAft>
                <a:spcPts val="0"/>
              </a:spcAft>
              <a:defRPr/>
            </a:pPr>
            <a:r>
              <a:rPr lang="es-ES" sz="3456" dirty="0">
                <a:solidFill>
                  <a:srgbClr val="000000"/>
                </a:solidFill>
              </a:rPr>
              <a:t>Proyecto de </a:t>
            </a:r>
            <a:r>
              <a:rPr lang="es-ES" sz="3456" dirty="0">
                <a:solidFill>
                  <a:srgbClr val="FF5000"/>
                </a:solidFill>
              </a:rPr>
              <a:t>Integración del Complejo Pasco</a:t>
            </a:r>
            <a:br>
              <a:rPr lang="en-US" sz="3456" dirty="0">
                <a:solidFill>
                  <a:srgbClr val="FF5000"/>
                </a:solidFill>
              </a:rPr>
            </a:br>
            <a:r>
              <a:rPr lang="es-ES" sz="2016" dirty="0">
                <a:solidFill>
                  <a:srgbClr val="3C3C3C"/>
                </a:solidFill>
                <a:latin typeface="Votorantim Sans" panose="020B0604020202020204" charset="0"/>
              </a:rPr>
              <a:t>Una opción sólida de crecimiento orgánico</a:t>
            </a:r>
            <a:endParaRPr lang="en-US" sz="2016" dirty="0">
              <a:solidFill>
                <a:srgbClr val="3C3C3C"/>
              </a:solidFill>
              <a:latin typeface="Votorantim Sans" panose="020B0604020202020204" charset="0"/>
            </a:endParaRPr>
          </a:p>
        </p:txBody>
      </p:sp>
      <p:pic>
        <p:nvPicPr>
          <p:cNvPr id="14" name="Imagem 13" descr="Diagrama&#10;&#10;Descrição gerada automaticamente">
            <a:extLst>
              <a:ext uri="{FF2B5EF4-FFF2-40B4-BE49-F238E27FC236}">
                <a16:creationId xmlns:a16="http://schemas.microsoft.com/office/drawing/2014/main" id="{34BD61BE-21A4-5D98-CAEE-0FB72441B9A4}"/>
              </a:ext>
            </a:extLst>
          </p:cNvPr>
          <p:cNvPicPr>
            <a:picLocks noChangeAspect="1"/>
          </p:cNvPicPr>
          <p:nvPr/>
        </p:nvPicPr>
        <p:blipFill rotWithShape="1">
          <a:blip r:embed="rId6">
            <a:extLst>
              <a:ext uri="{28A0092B-C50C-407E-A947-70E740481C1C}">
                <a14:useLocalDpi xmlns:a14="http://schemas.microsoft.com/office/drawing/2010/main" val="0"/>
              </a:ext>
            </a:extLst>
          </a:blip>
          <a:srcRect r="30309" b="28841"/>
          <a:stretch/>
        </p:blipFill>
        <p:spPr>
          <a:xfrm>
            <a:off x="930130" y="1207689"/>
            <a:ext cx="7972543" cy="4057741"/>
          </a:xfrm>
          <a:prstGeom prst="rect">
            <a:avLst/>
          </a:prstGeom>
        </p:spPr>
      </p:pic>
      <p:sp>
        <p:nvSpPr>
          <p:cNvPr id="15" name="Elipse 14">
            <a:extLst>
              <a:ext uri="{FF2B5EF4-FFF2-40B4-BE49-F238E27FC236}">
                <a16:creationId xmlns:a16="http://schemas.microsoft.com/office/drawing/2014/main" id="{1A25CEC1-680A-3C10-3AF7-552AF8348E3A}"/>
              </a:ext>
            </a:extLst>
          </p:cNvPr>
          <p:cNvSpPr/>
          <p:nvPr/>
        </p:nvSpPr>
        <p:spPr>
          <a:xfrm>
            <a:off x="4247510" y="3487699"/>
            <a:ext cx="668915" cy="1645989"/>
          </a:xfrm>
          <a:prstGeom prst="ellipse">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pt-BR" sz="2592">
              <a:solidFill>
                <a:srgbClr val="FFFFFF"/>
              </a:solidFill>
              <a:latin typeface="Calibri" panose="020F0502020204030204"/>
            </a:endParaRPr>
          </a:p>
        </p:txBody>
      </p:sp>
      <p:cxnSp>
        <p:nvCxnSpPr>
          <p:cNvPr id="16" name="Conector reto 15">
            <a:extLst>
              <a:ext uri="{FF2B5EF4-FFF2-40B4-BE49-F238E27FC236}">
                <a16:creationId xmlns:a16="http://schemas.microsoft.com/office/drawing/2014/main" id="{95843E47-11E3-AA8B-F61E-9EB624405960}"/>
              </a:ext>
            </a:extLst>
          </p:cNvPr>
          <p:cNvCxnSpPr>
            <a:cxnSpLocks/>
          </p:cNvCxnSpPr>
          <p:nvPr/>
        </p:nvCxnSpPr>
        <p:spPr>
          <a:xfrm flipH="1">
            <a:off x="3881721" y="4471441"/>
            <a:ext cx="329110" cy="95471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7" name="Imagem 16">
            <a:extLst>
              <a:ext uri="{FF2B5EF4-FFF2-40B4-BE49-F238E27FC236}">
                <a16:creationId xmlns:a16="http://schemas.microsoft.com/office/drawing/2014/main" id="{760171C3-6C98-11B3-BFC7-CBCDB3EF3CBE}"/>
              </a:ext>
            </a:extLst>
          </p:cNvPr>
          <p:cNvPicPr>
            <a:picLocks noChangeAspect="1"/>
          </p:cNvPicPr>
          <p:nvPr/>
        </p:nvPicPr>
        <p:blipFill>
          <a:blip r:embed="rId7"/>
          <a:stretch>
            <a:fillRect/>
          </a:stretch>
        </p:blipFill>
        <p:spPr>
          <a:xfrm>
            <a:off x="931534" y="5426152"/>
            <a:ext cx="2950188" cy="3433228"/>
          </a:xfrm>
          <a:prstGeom prst="rect">
            <a:avLst/>
          </a:prstGeom>
          <a:ln w="28575">
            <a:solidFill>
              <a:schemeClr val="accent1"/>
            </a:solidFill>
          </a:ln>
        </p:spPr>
      </p:pic>
      <p:cxnSp>
        <p:nvCxnSpPr>
          <p:cNvPr id="18" name="Conector reto 17">
            <a:extLst>
              <a:ext uri="{FF2B5EF4-FFF2-40B4-BE49-F238E27FC236}">
                <a16:creationId xmlns:a16="http://schemas.microsoft.com/office/drawing/2014/main" id="{3431A00E-989C-16CE-3610-B9EC17005CD3}"/>
              </a:ext>
            </a:extLst>
          </p:cNvPr>
          <p:cNvCxnSpPr>
            <a:cxnSpLocks/>
          </p:cNvCxnSpPr>
          <p:nvPr/>
        </p:nvCxnSpPr>
        <p:spPr>
          <a:xfrm flipH="1">
            <a:off x="3881721" y="5149941"/>
            <a:ext cx="700247" cy="370943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Conector reto 18">
            <a:extLst>
              <a:ext uri="{FF2B5EF4-FFF2-40B4-BE49-F238E27FC236}">
                <a16:creationId xmlns:a16="http://schemas.microsoft.com/office/drawing/2014/main" id="{DB30FDE8-51A1-CFDF-957C-D1F7AE7FF9A1}"/>
              </a:ext>
            </a:extLst>
          </p:cNvPr>
          <p:cNvCxnSpPr>
            <a:cxnSpLocks/>
          </p:cNvCxnSpPr>
          <p:nvPr/>
        </p:nvCxnSpPr>
        <p:spPr>
          <a:xfrm>
            <a:off x="4247856" y="1682737"/>
            <a:ext cx="0" cy="202116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0" name="Conector reto 19">
            <a:extLst>
              <a:ext uri="{FF2B5EF4-FFF2-40B4-BE49-F238E27FC236}">
                <a16:creationId xmlns:a16="http://schemas.microsoft.com/office/drawing/2014/main" id="{1CA6BBA6-E530-5DF0-91E7-C218196C9FCF}"/>
              </a:ext>
            </a:extLst>
          </p:cNvPr>
          <p:cNvCxnSpPr>
            <a:cxnSpLocks/>
          </p:cNvCxnSpPr>
          <p:nvPr/>
        </p:nvCxnSpPr>
        <p:spPr>
          <a:xfrm>
            <a:off x="4819341" y="1673615"/>
            <a:ext cx="0" cy="193430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1" name="Rectángulo 26">
            <a:extLst>
              <a:ext uri="{FF2B5EF4-FFF2-40B4-BE49-F238E27FC236}">
                <a16:creationId xmlns:a16="http://schemas.microsoft.com/office/drawing/2014/main" id="{CEF85A86-445E-ED3C-A0AD-91944D9646A9}"/>
              </a:ext>
            </a:extLst>
          </p:cNvPr>
          <p:cNvSpPr/>
          <p:nvPr/>
        </p:nvSpPr>
        <p:spPr>
          <a:xfrm>
            <a:off x="9145576" y="1688925"/>
            <a:ext cx="7655071" cy="3446072"/>
          </a:xfrm>
          <a:prstGeom prst="rect">
            <a:avLst/>
          </a:prstGeom>
          <a:noFill/>
        </p:spPr>
        <p:txBody>
          <a:bodyPr wrap="square" rtlCol="0">
            <a:spAutoFit/>
          </a:bodyPr>
          <a:lstStyle/>
          <a:p>
            <a:pPr marL="207331" indent="-207331" defTabSz="1316553">
              <a:spcBef>
                <a:spcPts val="1728"/>
              </a:spcBef>
              <a:spcAft>
                <a:spcPts val="0"/>
              </a:spcAft>
              <a:buFont typeface="Arial" panose="020B0604020202020204" pitchFamily="34" charset="0"/>
              <a:buChar char="•"/>
              <a:defRPr/>
            </a:pPr>
            <a:r>
              <a:rPr lang="es-ES" sz="2016" b="1" dirty="0">
                <a:solidFill>
                  <a:srgbClr val="000000"/>
                </a:solidFill>
                <a:latin typeface="Votorantim Sans" panose="020B0604020202020204" charset="0"/>
                <a:cs typeface="+mn-cs"/>
              </a:rPr>
              <a:t>Reposicionamiento de la competitividad del activo </a:t>
            </a:r>
            <a:r>
              <a:rPr lang="es-ES" sz="2016" dirty="0">
                <a:solidFill>
                  <a:srgbClr val="000000"/>
                </a:solidFill>
                <a:latin typeface="Votorantim Sans" panose="020B0604020202020204" charset="0"/>
                <a:cs typeface="+mn-cs"/>
              </a:rPr>
              <a:t>mediante la construcción de una </a:t>
            </a:r>
            <a:r>
              <a:rPr lang="es-ES" sz="2016" b="1" dirty="0">
                <a:solidFill>
                  <a:srgbClr val="FF5000"/>
                </a:solidFill>
                <a:latin typeface="Votorantim Sans" panose="020B0604020202020204" charset="0"/>
                <a:cs typeface="+mn-cs"/>
              </a:rPr>
              <a:t>sólida opción de crecimiento orgánico</a:t>
            </a:r>
            <a:endParaRPr lang="en-US" sz="2016" b="1" dirty="0">
              <a:solidFill>
                <a:srgbClr val="FF5000"/>
              </a:solidFill>
              <a:latin typeface="Votorantim Sans" panose="020B0604020202020204" charset="0"/>
              <a:cs typeface="+mn-cs"/>
            </a:endParaRPr>
          </a:p>
          <a:p>
            <a:pPr marL="207331" indent="-207331" defTabSz="1316553">
              <a:spcBef>
                <a:spcPts val="1728"/>
              </a:spcBef>
              <a:spcAft>
                <a:spcPts val="0"/>
              </a:spcAft>
              <a:buFont typeface="Arial" panose="020B0604020202020204" pitchFamily="34" charset="0"/>
              <a:buChar char="•"/>
              <a:defRPr/>
            </a:pPr>
            <a:r>
              <a:rPr lang="es-ES" sz="2016" dirty="0">
                <a:solidFill>
                  <a:srgbClr val="000000"/>
                </a:solidFill>
                <a:latin typeface="Votorantim Sans" panose="020B0604020202020204" charset="0"/>
                <a:cs typeface="+mn-cs"/>
              </a:rPr>
              <a:t>Integración de las minas subterráneas de </a:t>
            </a:r>
            <a:r>
              <a:rPr lang="es-ES" sz="2016" b="1" dirty="0">
                <a:solidFill>
                  <a:srgbClr val="FF5000"/>
                </a:solidFill>
                <a:latin typeface="Votorantim Sans" panose="020B0604020202020204" charset="0"/>
                <a:cs typeface="+mn-cs"/>
              </a:rPr>
              <a:t>Atacocha </a:t>
            </a:r>
            <a:r>
              <a:rPr lang="es-ES" sz="2016" dirty="0">
                <a:solidFill>
                  <a:srgbClr val="000000"/>
                </a:solidFill>
                <a:latin typeface="Votorantim Sans" panose="020B0604020202020204" charset="0"/>
                <a:cs typeface="+mn-cs"/>
              </a:rPr>
              <a:t>y </a:t>
            </a:r>
            <a:r>
              <a:rPr lang="es-ES" sz="2016" b="1" dirty="0">
                <a:solidFill>
                  <a:srgbClr val="FF5000"/>
                </a:solidFill>
                <a:latin typeface="Votorantim Sans" panose="020B0604020202020204" charset="0"/>
                <a:cs typeface="+mn-cs"/>
              </a:rPr>
              <a:t>El Porvenir</a:t>
            </a:r>
            <a:r>
              <a:rPr lang="es-ES" sz="2016" dirty="0">
                <a:solidFill>
                  <a:srgbClr val="000000"/>
                </a:solidFill>
                <a:latin typeface="Votorantim Sans" panose="020B0604020202020204" charset="0"/>
                <a:cs typeface="+mn-cs"/>
              </a:rPr>
              <a:t>: </a:t>
            </a:r>
            <a:r>
              <a:rPr lang="es-ES" sz="2016" b="1" dirty="0">
                <a:solidFill>
                  <a:srgbClr val="000000"/>
                </a:solidFill>
                <a:latin typeface="Votorantim Sans" panose="020B0604020202020204" charset="0"/>
                <a:cs typeface="+mn-cs"/>
              </a:rPr>
              <a:t>desbloqueando el potencial completo del sitio</a:t>
            </a:r>
            <a:endParaRPr lang="en-US" sz="2016" b="1" dirty="0">
              <a:solidFill>
                <a:srgbClr val="000000"/>
              </a:solidFill>
              <a:latin typeface="Votorantim Sans" panose="020B0604020202020204" charset="0"/>
              <a:cs typeface="+mn-cs"/>
            </a:endParaRPr>
          </a:p>
          <a:p>
            <a:pPr marL="207331" indent="-207331" defTabSz="1316553">
              <a:spcBef>
                <a:spcPts val="1728"/>
              </a:spcBef>
              <a:spcAft>
                <a:spcPts val="0"/>
              </a:spcAft>
              <a:buFont typeface="Arial" panose="020B0604020202020204" pitchFamily="34" charset="0"/>
              <a:buChar char="•"/>
              <a:defRPr/>
            </a:pPr>
            <a:r>
              <a:rPr lang="en-US" sz="2016" dirty="0">
                <a:solidFill>
                  <a:srgbClr val="000000"/>
                </a:solidFill>
                <a:latin typeface="Votorantim Sans" panose="020B0604020202020204" charset="0"/>
                <a:cs typeface="+mn-cs"/>
              </a:rPr>
              <a:t>El Porvenir (</a:t>
            </a:r>
            <a:r>
              <a:rPr lang="en-US" sz="2016" dirty="0" err="1">
                <a:solidFill>
                  <a:srgbClr val="000000"/>
                </a:solidFill>
                <a:latin typeface="Votorantim Sans" panose="020B0604020202020204" charset="0"/>
                <a:cs typeface="+mn-cs"/>
              </a:rPr>
              <a:t>vida</a:t>
            </a:r>
            <a:r>
              <a:rPr lang="en-US" sz="2016" dirty="0">
                <a:solidFill>
                  <a:srgbClr val="000000"/>
                </a:solidFill>
                <a:latin typeface="Votorantim Sans" panose="020B0604020202020204" charset="0"/>
                <a:cs typeface="+mn-cs"/>
              </a:rPr>
              <a:t> </a:t>
            </a:r>
            <a:r>
              <a:rPr lang="en-US" sz="2016" dirty="0" err="1">
                <a:solidFill>
                  <a:srgbClr val="000000"/>
                </a:solidFill>
                <a:latin typeface="Votorantim Sans" panose="020B0604020202020204" charset="0"/>
                <a:cs typeface="+mn-cs"/>
              </a:rPr>
              <a:t>útil</a:t>
            </a:r>
            <a:r>
              <a:rPr lang="en-US" sz="2016" dirty="0">
                <a:solidFill>
                  <a:srgbClr val="000000"/>
                </a:solidFill>
                <a:latin typeface="Votorantim Sans" panose="020B0604020202020204" charset="0"/>
                <a:cs typeface="+mn-cs"/>
              </a:rPr>
              <a:t> de la mina)¹: </a:t>
            </a:r>
            <a:r>
              <a:rPr lang="en-US" sz="2016" b="1" dirty="0">
                <a:solidFill>
                  <a:srgbClr val="000000"/>
                </a:solidFill>
                <a:latin typeface="Votorantim Sans" panose="020B0604020202020204" charset="0"/>
                <a:cs typeface="+mn-cs"/>
              </a:rPr>
              <a:t>7 </a:t>
            </a:r>
            <a:r>
              <a:rPr lang="en-US" sz="2016" b="1" dirty="0" err="1">
                <a:solidFill>
                  <a:srgbClr val="000000"/>
                </a:solidFill>
                <a:latin typeface="Votorantim Sans" panose="020B0604020202020204" charset="0"/>
                <a:cs typeface="+mn-cs"/>
              </a:rPr>
              <a:t>años</a:t>
            </a:r>
            <a:endParaRPr lang="en-US" sz="2016" b="1" dirty="0">
              <a:solidFill>
                <a:srgbClr val="000000"/>
              </a:solidFill>
              <a:latin typeface="Votorantim Sans" panose="020B0604020202020204" charset="0"/>
              <a:cs typeface="+mn-cs"/>
            </a:endParaRPr>
          </a:p>
          <a:p>
            <a:pPr marL="207331" indent="-207331" defTabSz="1316553" fontAlgn="auto">
              <a:spcBef>
                <a:spcPts val="1728"/>
              </a:spcBef>
              <a:spcAft>
                <a:spcPts val="0"/>
              </a:spcAft>
              <a:buFont typeface="Arial" panose="020B0604020202020204" pitchFamily="34" charset="0"/>
              <a:buChar char="•"/>
            </a:pPr>
            <a:r>
              <a:rPr lang="en-US" sz="2016" dirty="0">
                <a:solidFill>
                  <a:srgbClr val="000000"/>
                </a:solidFill>
                <a:latin typeface="Votorantim Sans" panose="020B0604020202020204" charset="0"/>
                <a:cs typeface="+mn-cs"/>
              </a:rPr>
              <a:t>Atacocha (</a:t>
            </a:r>
            <a:r>
              <a:rPr lang="en-US" sz="2016" dirty="0" err="1">
                <a:solidFill>
                  <a:srgbClr val="000000"/>
                </a:solidFill>
                <a:latin typeface="Votorantim Sans" panose="020B0604020202020204" charset="0"/>
                <a:cs typeface="+mn-cs"/>
              </a:rPr>
              <a:t>vida</a:t>
            </a:r>
            <a:r>
              <a:rPr lang="en-US" sz="2016" dirty="0">
                <a:solidFill>
                  <a:srgbClr val="000000"/>
                </a:solidFill>
                <a:latin typeface="Votorantim Sans" panose="020B0604020202020204" charset="0"/>
                <a:cs typeface="+mn-cs"/>
              </a:rPr>
              <a:t> </a:t>
            </a:r>
            <a:r>
              <a:rPr lang="en-US" sz="2016" dirty="0" err="1">
                <a:solidFill>
                  <a:srgbClr val="000000"/>
                </a:solidFill>
                <a:latin typeface="Votorantim Sans" panose="020B0604020202020204" charset="0"/>
                <a:cs typeface="+mn-cs"/>
              </a:rPr>
              <a:t>útil</a:t>
            </a:r>
            <a:r>
              <a:rPr lang="en-US" sz="2016" dirty="0">
                <a:solidFill>
                  <a:srgbClr val="000000"/>
                </a:solidFill>
                <a:latin typeface="Votorantim Sans" panose="020B0604020202020204" charset="0"/>
                <a:cs typeface="+mn-cs"/>
              </a:rPr>
              <a:t> de la mina)²: </a:t>
            </a:r>
            <a:r>
              <a:rPr lang="en-US" sz="2016" b="1" dirty="0">
                <a:solidFill>
                  <a:srgbClr val="000000"/>
                </a:solidFill>
                <a:latin typeface="Votorantim Sans" panose="020B0604020202020204" charset="0"/>
                <a:cs typeface="+mn-cs"/>
              </a:rPr>
              <a:t>4 </a:t>
            </a:r>
            <a:r>
              <a:rPr lang="en-US" sz="2016" b="1" dirty="0" err="1">
                <a:solidFill>
                  <a:srgbClr val="000000"/>
                </a:solidFill>
                <a:latin typeface="Votorantim Sans" panose="020B0604020202020204" charset="0"/>
                <a:cs typeface="+mn-cs"/>
              </a:rPr>
              <a:t>años</a:t>
            </a:r>
            <a:endParaRPr lang="en-US" sz="2016" b="1" dirty="0">
              <a:solidFill>
                <a:srgbClr val="000000"/>
              </a:solidFill>
              <a:latin typeface="Votorantim Sans" panose="020B0604020202020204" charset="0"/>
              <a:cs typeface="+mn-cs"/>
            </a:endParaRPr>
          </a:p>
          <a:p>
            <a:pPr marL="207331" indent="-207331" defTabSz="1316553" fontAlgn="auto">
              <a:spcBef>
                <a:spcPts val="1728"/>
              </a:spcBef>
              <a:spcAft>
                <a:spcPts val="0"/>
              </a:spcAft>
              <a:buFont typeface="Arial" panose="020B0604020202020204" pitchFamily="34" charset="0"/>
              <a:buChar char="•"/>
            </a:pPr>
            <a:r>
              <a:rPr lang="en-US" sz="2016" dirty="0">
                <a:solidFill>
                  <a:srgbClr val="000000"/>
                </a:solidFill>
                <a:latin typeface="Votorantim Sans" panose="020B0604020202020204" charset="0"/>
                <a:cs typeface="+mn-cs"/>
              </a:rPr>
              <a:t>El Porvenir + Atacocha integrated (</a:t>
            </a:r>
            <a:r>
              <a:rPr lang="en-US" sz="2016" dirty="0" err="1">
                <a:solidFill>
                  <a:srgbClr val="000000"/>
                </a:solidFill>
                <a:latin typeface="Votorantim Sans" panose="020B0604020202020204" charset="0"/>
                <a:cs typeface="+mn-cs"/>
              </a:rPr>
              <a:t>vida</a:t>
            </a:r>
            <a:r>
              <a:rPr lang="en-US" sz="2016" dirty="0">
                <a:solidFill>
                  <a:srgbClr val="000000"/>
                </a:solidFill>
                <a:latin typeface="Votorantim Sans" panose="020B0604020202020204" charset="0"/>
                <a:cs typeface="+mn-cs"/>
              </a:rPr>
              <a:t> </a:t>
            </a:r>
            <a:r>
              <a:rPr lang="en-US" sz="2016" dirty="0" err="1">
                <a:solidFill>
                  <a:srgbClr val="000000"/>
                </a:solidFill>
                <a:latin typeface="Votorantim Sans" panose="020B0604020202020204" charset="0"/>
                <a:cs typeface="+mn-cs"/>
              </a:rPr>
              <a:t>útil</a:t>
            </a:r>
            <a:r>
              <a:rPr lang="en-US" sz="2016" dirty="0">
                <a:solidFill>
                  <a:srgbClr val="000000"/>
                </a:solidFill>
                <a:latin typeface="Votorantim Sans" panose="020B0604020202020204" charset="0"/>
                <a:cs typeface="+mn-cs"/>
              </a:rPr>
              <a:t>): </a:t>
            </a:r>
            <a:r>
              <a:rPr lang="en-US" sz="2016" b="1" dirty="0">
                <a:solidFill>
                  <a:srgbClr val="000000"/>
                </a:solidFill>
                <a:latin typeface="Votorantim Sans" panose="020B0604020202020204" charset="0"/>
                <a:cs typeface="+mn-cs"/>
              </a:rPr>
              <a:t>10 años</a:t>
            </a:r>
            <a:r>
              <a:rPr lang="en-US" sz="2016" dirty="0">
                <a:solidFill>
                  <a:srgbClr val="000000"/>
                </a:solidFill>
                <a:latin typeface="Votorantim Sans" panose="020B0604020202020204" charset="0"/>
                <a:cs typeface="+mn-cs"/>
              </a:rPr>
              <a:t>³</a:t>
            </a:r>
          </a:p>
        </p:txBody>
      </p:sp>
      <p:pic>
        <p:nvPicPr>
          <p:cNvPr id="22" name="Imagem 21">
            <a:extLst>
              <a:ext uri="{FF2B5EF4-FFF2-40B4-BE49-F238E27FC236}">
                <a16:creationId xmlns:a16="http://schemas.microsoft.com/office/drawing/2014/main" id="{02A3926A-DD7B-489D-6CB8-C741AF6F5A5C}"/>
              </a:ext>
            </a:extLst>
          </p:cNvPr>
          <p:cNvPicPr>
            <a:picLocks noChangeAspect="1"/>
          </p:cNvPicPr>
          <p:nvPr/>
        </p:nvPicPr>
        <p:blipFill>
          <a:blip r:embed="rId8"/>
          <a:stretch>
            <a:fillRect/>
          </a:stretch>
        </p:blipFill>
        <p:spPr>
          <a:xfrm>
            <a:off x="13208130" y="5283134"/>
            <a:ext cx="3245301" cy="1841002"/>
          </a:xfrm>
          <a:prstGeom prst="rect">
            <a:avLst/>
          </a:prstGeom>
        </p:spPr>
      </p:pic>
      <p:pic>
        <p:nvPicPr>
          <p:cNvPr id="23" name="Imagem 22">
            <a:extLst>
              <a:ext uri="{FF2B5EF4-FFF2-40B4-BE49-F238E27FC236}">
                <a16:creationId xmlns:a16="http://schemas.microsoft.com/office/drawing/2014/main" id="{FCB07338-D0DF-0A2E-7ECC-39F468F710B4}"/>
              </a:ext>
            </a:extLst>
          </p:cNvPr>
          <p:cNvPicPr>
            <a:picLocks noChangeAspect="1"/>
          </p:cNvPicPr>
          <p:nvPr/>
        </p:nvPicPr>
        <p:blipFill>
          <a:blip r:embed="rId9"/>
          <a:stretch>
            <a:fillRect/>
          </a:stretch>
        </p:blipFill>
        <p:spPr>
          <a:xfrm>
            <a:off x="13208130" y="7125813"/>
            <a:ext cx="3245301" cy="1841000"/>
          </a:xfrm>
          <a:prstGeom prst="rect">
            <a:avLst/>
          </a:prstGeom>
        </p:spPr>
      </p:pic>
      <p:sp>
        <p:nvSpPr>
          <p:cNvPr id="24" name="Rectángulo 26">
            <a:extLst>
              <a:ext uri="{FF2B5EF4-FFF2-40B4-BE49-F238E27FC236}">
                <a16:creationId xmlns:a16="http://schemas.microsoft.com/office/drawing/2014/main" id="{33F81046-5CBC-8519-2656-631BA0AC11CB}"/>
              </a:ext>
            </a:extLst>
          </p:cNvPr>
          <p:cNvSpPr/>
          <p:nvPr/>
        </p:nvSpPr>
        <p:spPr>
          <a:xfrm>
            <a:off x="4530337" y="5374770"/>
            <a:ext cx="8677793" cy="3544175"/>
          </a:xfrm>
          <a:prstGeom prst="rect">
            <a:avLst/>
          </a:prstGeom>
          <a:noFill/>
        </p:spPr>
        <p:txBody>
          <a:bodyPr wrap="square" rtlCol="0">
            <a:spAutoFit/>
          </a:bodyPr>
          <a:lstStyle/>
          <a:p>
            <a:pPr defTabSz="1316553">
              <a:spcBef>
                <a:spcPts val="1152"/>
              </a:spcBef>
              <a:spcAft>
                <a:spcPts val="0"/>
              </a:spcAft>
              <a:defRPr/>
            </a:pPr>
            <a:r>
              <a:rPr lang="en-US" sz="2304" b="1" u="sng" dirty="0" err="1">
                <a:solidFill>
                  <a:srgbClr val="FF5000"/>
                </a:solidFill>
                <a:latin typeface="Votorantim Sans" panose="020B0604020202020204" charset="0"/>
                <a:cs typeface="+mn-cs"/>
              </a:rPr>
              <a:t>Aspectos</a:t>
            </a:r>
            <a:r>
              <a:rPr lang="en-US" sz="2304" b="1" u="sng" dirty="0">
                <a:solidFill>
                  <a:srgbClr val="FF5000"/>
                </a:solidFill>
                <a:latin typeface="Votorantim Sans" panose="020B0604020202020204" charset="0"/>
                <a:cs typeface="+mn-cs"/>
              </a:rPr>
              <a:t> </a:t>
            </a:r>
            <a:r>
              <a:rPr lang="en-US" sz="2304" b="1" u="sng" dirty="0" err="1">
                <a:solidFill>
                  <a:srgbClr val="FF5000"/>
                </a:solidFill>
                <a:latin typeface="Votorantim Sans" panose="020B0604020202020204" charset="0"/>
                <a:cs typeface="+mn-cs"/>
              </a:rPr>
              <a:t>destacados</a:t>
            </a:r>
            <a:r>
              <a:rPr lang="en-US" sz="2304" b="1" u="sng" dirty="0">
                <a:solidFill>
                  <a:srgbClr val="FF5000"/>
                </a:solidFill>
                <a:latin typeface="Votorantim Sans" panose="020B0604020202020204" charset="0"/>
                <a:cs typeface="+mn-cs"/>
              </a:rPr>
              <a:t> del </a:t>
            </a:r>
            <a:r>
              <a:rPr lang="en-US" sz="2304" b="1" u="sng" dirty="0" err="1">
                <a:solidFill>
                  <a:srgbClr val="FF5000"/>
                </a:solidFill>
                <a:latin typeface="Votorantim Sans" panose="020B0604020202020204" charset="0"/>
                <a:cs typeface="+mn-cs"/>
              </a:rPr>
              <a:t>proyecto</a:t>
            </a:r>
            <a:r>
              <a:rPr lang="en-US" sz="2304" b="1" u="sng" dirty="0">
                <a:solidFill>
                  <a:srgbClr val="FF5000"/>
                </a:solidFill>
                <a:latin typeface="Votorantim Sans" panose="020B0604020202020204" charset="0"/>
                <a:cs typeface="+mn-cs"/>
              </a:rPr>
              <a:t>:</a:t>
            </a:r>
          </a:p>
          <a:p>
            <a:pPr marL="207331" indent="-207331" defTabSz="1316553">
              <a:spcBef>
                <a:spcPts val="1152"/>
              </a:spcBef>
              <a:spcAft>
                <a:spcPts val="0"/>
              </a:spcAft>
              <a:buFont typeface="Arial" panose="020B0604020202020204" pitchFamily="34" charset="0"/>
              <a:buChar char="•"/>
              <a:defRPr/>
            </a:pPr>
            <a:r>
              <a:rPr lang="es-ES" sz="2016" b="1" dirty="0">
                <a:solidFill>
                  <a:srgbClr val="000000"/>
                </a:solidFill>
                <a:latin typeface="Votorantim Sans" panose="020B0604020202020204" charset="0"/>
                <a:cs typeface="+mn-cs"/>
                <a:sym typeface="Wingdings" panose="05000000000000000000" pitchFamily="2" charset="2"/>
              </a:rPr>
              <a:t>Integración de las 2 minas subterráneas</a:t>
            </a:r>
            <a:r>
              <a:rPr lang="es-ES" sz="2016" dirty="0">
                <a:solidFill>
                  <a:srgbClr val="000000"/>
                </a:solidFill>
                <a:latin typeface="Votorantim Sans" panose="020B0604020202020204" charset="0"/>
                <a:cs typeface="+mn-cs"/>
                <a:sym typeface="Wingdings" panose="05000000000000000000" pitchFamily="2" charset="2"/>
              </a:rPr>
              <a:t>: infraestructura subterránea compartida (infraestructura compartida &gt;&gt; </a:t>
            </a:r>
            <a:r>
              <a:rPr lang="es-ES" sz="2016" dirty="0">
                <a:solidFill>
                  <a:srgbClr val="FF5000"/>
                </a:solidFill>
                <a:latin typeface="Votorantim Sans" panose="020B0604020202020204" charset="0"/>
                <a:cs typeface="+mn-cs"/>
                <a:sym typeface="Wingdings" panose="05000000000000000000" pitchFamily="2" charset="2"/>
              </a:rPr>
              <a:t>mayor rentabilidad</a:t>
            </a:r>
            <a:r>
              <a:rPr lang="es-ES" sz="2016" dirty="0">
                <a:solidFill>
                  <a:srgbClr val="000000"/>
                </a:solidFill>
                <a:latin typeface="Votorantim Sans" panose="020B0604020202020204" charset="0"/>
                <a:cs typeface="+mn-cs"/>
                <a:sym typeface="Wingdings" panose="05000000000000000000" pitchFamily="2" charset="2"/>
              </a:rPr>
              <a:t>)</a:t>
            </a:r>
            <a:endParaRPr lang="en-US" sz="2016" dirty="0">
              <a:solidFill>
                <a:srgbClr val="000000"/>
              </a:solidFill>
              <a:latin typeface="Votorantim Sans" panose="020B0604020202020204" charset="0"/>
              <a:cs typeface="+mn-cs"/>
            </a:endParaRPr>
          </a:p>
          <a:p>
            <a:pPr marL="207331" indent="-207331" defTabSz="1316553">
              <a:spcBef>
                <a:spcPts val="1152"/>
              </a:spcBef>
              <a:spcAft>
                <a:spcPts val="0"/>
              </a:spcAft>
              <a:buFont typeface="Arial" panose="020B0604020202020204" pitchFamily="34" charset="0"/>
              <a:buChar char="•"/>
              <a:defRPr/>
            </a:pPr>
            <a:r>
              <a:rPr lang="es-ES" sz="2016" b="1" dirty="0">
                <a:solidFill>
                  <a:srgbClr val="000000"/>
                </a:solidFill>
                <a:latin typeface="Votorantim Sans" panose="020B0604020202020204" charset="0"/>
                <a:cs typeface="+mn-cs"/>
              </a:rPr>
              <a:t>Mejora del pozo de El Porvenir:</a:t>
            </a:r>
            <a:r>
              <a:rPr lang="en-US" sz="2016" dirty="0">
                <a:solidFill>
                  <a:srgbClr val="000000"/>
                </a:solidFill>
                <a:latin typeface="Votorantim Sans" panose="020B0604020202020204" charset="0"/>
                <a:cs typeface="+mn-cs"/>
              </a:rPr>
              <a:t> aumento de la capacidad</a:t>
            </a:r>
          </a:p>
          <a:p>
            <a:pPr marL="207331" indent="-207331" defTabSz="1316553">
              <a:spcBef>
                <a:spcPts val="1152"/>
              </a:spcBef>
              <a:spcAft>
                <a:spcPts val="0"/>
              </a:spcAft>
              <a:buFont typeface="Arial" panose="020B0604020202020204" pitchFamily="34" charset="0"/>
              <a:buChar char="•"/>
              <a:defRPr/>
            </a:pPr>
            <a:r>
              <a:rPr lang="es-ES" sz="2016" b="1" dirty="0">
                <a:solidFill>
                  <a:srgbClr val="000000"/>
                </a:solidFill>
                <a:latin typeface="Votorantim Sans" panose="020B0604020202020204" charset="0"/>
                <a:cs typeface="+mn-cs"/>
              </a:rPr>
              <a:t>Depósito de relaves: </a:t>
            </a:r>
            <a:r>
              <a:rPr lang="es-ES" sz="2016" dirty="0">
                <a:solidFill>
                  <a:srgbClr val="000000"/>
                </a:solidFill>
                <a:latin typeface="Votorantim Sans" panose="020B0604020202020204" charset="0"/>
                <a:cs typeface="+mn-cs"/>
              </a:rPr>
              <a:t>mayor capacidad de almacenamiento + sistema de bombeo</a:t>
            </a:r>
            <a:endParaRPr lang="en-US" sz="2016" dirty="0">
              <a:solidFill>
                <a:srgbClr val="000000"/>
              </a:solidFill>
              <a:latin typeface="Votorantim Sans" panose="020B0604020202020204" charset="0"/>
              <a:cs typeface="+mn-cs"/>
            </a:endParaRPr>
          </a:p>
          <a:p>
            <a:pPr marL="207331" indent="-207331" defTabSz="1316553">
              <a:spcBef>
                <a:spcPts val="1152"/>
              </a:spcBef>
              <a:spcAft>
                <a:spcPts val="0"/>
              </a:spcAft>
              <a:buFont typeface="Arial" panose="020B0604020202020204" pitchFamily="34" charset="0"/>
              <a:buChar char="•"/>
              <a:defRPr/>
            </a:pPr>
            <a:r>
              <a:rPr lang="en-US" sz="2016" b="1" dirty="0" err="1">
                <a:solidFill>
                  <a:srgbClr val="000000"/>
                </a:solidFill>
                <a:latin typeface="Votorantim Sans" panose="020B0604020202020204" charset="0"/>
                <a:cs typeface="+mn-cs"/>
              </a:rPr>
              <a:t>Estudios</a:t>
            </a:r>
            <a:r>
              <a:rPr lang="en-US" sz="2016" b="1" dirty="0">
                <a:solidFill>
                  <a:srgbClr val="000000"/>
                </a:solidFill>
                <a:latin typeface="Votorantim Sans" panose="020B0604020202020204" charset="0"/>
                <a:cs typeface="+mn-cs"/>
              </a:rPr>
              <a:t> de </a:t>
            </a:r>
            <a:r>
              <a:rPr lang="en-US" sz="2016" b="1" dirty="0" err="1">
                <a:solidFill>
                  <a:srgbClr val="000000"/>
                </a:solidFill>
                <a:latin typeface="Votorantim Sans" panose="020B0604020202020204" charset="0"/>
                <a:cs typeface="+mn-cs"/>
              </a:rPr>
              <a:t>soporte</a:t>
            </a:r>
            <a:r>
              <a:rPr lang="en-US" sz="2016" b="1" dirty="0">
                <a:solidFill>
                  <a:srgbClr val="000000"/>
                </a:solidFill>
                <a:latin typeface="Votorantim Sans" panose="020B0604020202020204" charset="0"/>
                <a:cs typeface="+mn-cs"/>
              </a:rPr>
              <a:t>: </a:t>
            </a:r>
            <a:r>
              <a:rPr lang="es-ES" sz="2016" dirty="0">
                <a:solidFill>
                  <a:srgbClr val="000000"/>
                </a:solidFill>
                <a:latin typeface="Votorantim Sans" panose="020B0604020202020204" charset="0"/>
                <a:cs typeface="+mn-cs"/>
              </a:rPr>
              <a:t>estudios ambientales y permisos, estructura corporativa</a:t>
            </a:r>
            <a:endParaRPr lang="en-US" sz="2016" dirty="0">
              <a:solidFill>
                <a:srgbClr val="000000"/>
              </a:solidFill>
              <a:latin typeface="Votorantim Sans" panose="020B0604020202020204" charset="0"/>
              <a:cs typeface="+mn-cs"/>
            </a:endParaRPr>
          </a:p>
        </p:txBody>
      </p:sp>
      <p:sp>
        <p:nvSpPr>
          <p:cNvPr id="25" name="Retângulo 24">
            <a:extLst>
              <a:ext uri="{FF2B5EF4-FFF2-40B4-BE49-F238E27FC236}">
                <a16:creationId xmlns:a16="http://schemas.microsoft.com/office/drawing/2014/main" id="{C358DA3E-D158-8711-CB4C-140AAB518897}"/>
              </a:ext>
            </a:extLst>
          </p:cNvPr>
          <p:cNvSpPr/>
          <p:nvPr/>
        </p:nvSpPr>
        <p:spPr>
          <a:xfrm>
            <a:off x="9145577" y="1748137"/>
            <a:ext cx="7412167" cy="897419"/>
          </a:xfrm>
          <a:prstGeom prst="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endParaRPr lang="en-US" sz="2592" dirty="0">
              <a:solidFill>
                <a:srgbClr val="FFFFFF"/>
              </a:solidFill>
              <a:latin typeface="Calibri" panose="020F0502020204030204"/>
            </a:endParaRPr>
          </a:p>
        </p:txBody>
      </p:sp>
      <p:sp>
        <p:nvSpPr>
          <p:cNvPr id="26" name="CaixaDeTexto 25">
            <a:extLst>
              <a:ext uri="{FF2B5EF4-FFF2-40B4-BE49-F238E27FC236}">
                <a16:creationId xmlns:a16="http://schemas.microsoft.com/office/drawing/2014/main" id="{CA81F48B-5960-5A4B-F17B-5D1CCEB97B9B}"/>
              </a:ext>
            </a:extLst>
          </p:cNvPr>
          <p:cNvSpPr txBox="1"/>
          <p:nvPr/>
        </p:nvSpPr>
        <p:spPr>
          <a:xfrm>
            <a:off x="2081689" y="1383959"/>
            <a:ext cx="1508746" cy="446917"/>
          </a:xfrm>
          <a:prstGeom prst="rect">
            <a:avLst/>
          </a:prstGeom>
          <a:solidFill>
            <a:schemeClr val="bg1"/>
          </a:solidFill>
        </p:spPr>
        <p:txBody>
          <a:bodyPr wrap="none" rtlCol="0">
            <a:spAutoFit/>
          </a:bodyPr>
          <a:lstStyle/>
          <a:p>
            <a:pPr algn="ctr" defTabSz="1316553" fontAlgn="auto">
              <a:spcBef>
                <a:spcPts val="0"/>
              </a:spcBef>
              <a:spcAft>
                <a:spcPts val="0"/>
              </a:spcAft>
            </a:pPr>
            <a:r>
              <a:rPr lang="en-US" sz="2304" b="1" dirty="0">
                <a:solidFill>
                  <a:srgbClr val="000000"/>
                </a:solidFill>
                <a:latin typeface="Votorantim Sans" panose="020B0604020202020204" charset="0"/>
                <a:cs typeface="+mn-cs"/>
              </a:rPr>
              <a:t>Atacocha</a:t>
            </a:r>
          </a:p>
        </p:txBody>
      </p:sp>
      <p:sp>
        <p:nvSpPr>
          <p:cNvPr id="28" name="CaixaDeTexto 27">
            <a:extLst>
              <a:ext uri="{FF2B5EF4-FFF2-40B4-BE49-F238E27FC236}">
                <a16:creationId xmlns:a16="http://schemas.microsoft.com/office/drawing/2014/main" id="{3116A4FD-57B8-5B44-2F82-38A79E499E9C}"/>
              </a:ext>
            </a:extLst>
          </p:cNvPr>
          <p:cNvSpPr txBox="1"/>
          <p:nvPr/>
        </p:nvSpPr>
        <p:spPr>
          <a:xfrm>
            <a:off x="5518662" y="1353340"/>
            <a:ext cx="1770036" cy="446917"/>
          </a:xfrm>
          <a:prstGeom prst="rect">
            <a:avLst/>
          </a:prstGeom>
          <a:solidFill>
            <a:schemeClr val="bg1"/>
          </a:solidFill>
        </p:spPr>
        <p:txBody>
          <a:bodyPr wrap="none" rtlCol="0">
            <a:spAutoFit/>
          </a:bodyPr>
          <a:lstStyle/>
          <a:p>
            <a:pPr defTabSz="1316553" fontAlgn="auto">
              <a:spcBef>
                <a:spcPts val="0"/>
              </a:spcBef>
              <a:spcAft>
                <a:spcPts val="0"/>
              </a:spcAft>
            </a:pPr>
            <a:r>
              <a:rPr lang="en-US" sz="2304" b="1" dirty="0">
                <a:solidFill>
                  <a:srgbClr val="000000"/>
                </a:solidFill>
                <a:latin typeface="Votorantim Sans" panose="020B0604020202020204" charset="0"/>
                <a:cs typeface="+mn-cs"/>
              </a:rPr>
              <a:t>El Porvenir</a:t>
            </a:r>
          </a:p>
        </p:txBody>
      </p:sp>
      <p:sp>
        <p:nvSpPr>
          <p:cNvPr id="29" name="CaixaDeTexto 28">
            <a:extLst>
              <a:ext uri="{FF2B5EF4-FFF2-40B4-BE49-F238E27FC236}">
                <a16:creationId xmlns:a16="http://schemas.microsoft.com/office/drawing/2014/main" id="{E682DBD4-0B45-3785-E22E-A71CFDD4700F}"/>
              </a:ext>
            </a:extLst>
          </p:cNvPr>
          <p:cNvSpPr txBox="1"/>
          <p:nvPr/>
        </p:nvSpPr>
        <p:spPr>
          <a:xfrm>
            <a:off x="4126526" y="1371879"/>
            <a:ext cx="184731" cy="446917"/>
          </a:xfrm>
          <a:prstGeom prst="rect">
            <a:avLst/>
          </a:prstGeom>
          <a:solidFill>
            <a:schemeClr val="bg1"/>
          </a:solidFill>
        </p:spPr>
        <p:txBody>
          <a:bodyPr wrap="none" rtlCol="0">
            <a:spAutoFit/>
          </a:bodyPr>
          <a:lstStyle/>
          <a:p>
            <a:pPr defTabSz="1316553" fontAlgn="auto">
              <a:spcBef>
                <a:spcPts val="0"/>
              </a:spcBef>
              <a:spcAft>
                <a:spcPts val="0"/>
              </a:spcAft>
            </a:pPr>
            <a:endParaRPr lang="en-US" sz="2304" b="1" dirty="0">
              <a:solidFill>
                <a:srgbClr val="000000"/>
              </a:solidFill>
              <a:latin typeface="Votorantim Sans" panose="020B0604020202020204" charset="0"/>
              <a:cs typeface="+mn-cs"/>
            </a:endParaRPr>
          </a:p>
        </p:txBody>
      </p:sp>
      <p:sp>
        <p:nvSpPr>
          <p:cNvPr id="32" name="Retângulo: Cantos Arredondados 31">
            <a:extLst>
              <a:ext uri="{FF2B5EF4-FFF2-40B4-BE49-F238E27FC236}">
                <a16:creationId xmlns:a16="http://schemas.microsoft.com/office/drawing/2014/main" id="{1EFAEE86-98AF-57A2-ED32-212CEC348643}"/>
              </a:ext>
            </a:extLst>
          </p:cNvPr>
          <p:cNvSpPr/>
          <p:nvPr/>
        </p:nvSpPr>
        <p:spPr>
          <a:xfrm>
            <a:off x="3592663" y="1248356"/>
            <a:ext cx="1820477" cy="42376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16553" fontAlgn="auto">
              <a:spcBef>
                <a:spcPts val="0"/>
              </a:spcBef>
              <a:spcAft>
                <a:spcPts val="0"/>
              </a:spcAft>
            </a:pPr>
            <a:r>
              <a:rPr lang="en-US" sz="2016" b="1" dirty="0">
                <a:solidFill>
                  <a:srgbClr val="FFFFFF"/>
                </a:solidFill>
                <a:latin typeface="Votorantim Sans" panose="020B0604020202020204" charset="0"/>
              </a:rPr>
              <a:t>Integración</a:t>
            </a:r>
          </a:p>
        </p:txBody>
      </p:sp>
      <p:sp>
        <p:nvSpPr>
          <p:cNvPr id="2" name="Rectángulo 1">
            <a:extLst>
              <a:ext uri="{FF2B5EF4-FFF2-40B4-BE49-F238E27FC236}">
                <a16:creationId xmlns:a16="http://schemas.microsoft.com/office/drawing/2014/main" id="{487C9652-C0B3-221B-F11C-203177303ED2}"/>
              </a:ext>
            </a:extLst>
          </p:cNvPr>
          <p:cNvSpPr/>
          <p:nvPr/>
        </p:nvSpPr>
        <p:spPr>
          <a:xfrm>
            <a:off x="836023" y="9382775"/>
            <a:ext cx="15964624" cy="4705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403" name="CaixaDeTexto 402">
            <a:extLst>
              <a:ext uri="{FF2B5EF4-FFF2-40B4-BE49-F238E27FC236}">
                <a16:creationId xmlns:a16="http://schemas.microsoft.com/office/drawing/2014/main" id="{ED294321-C9F3-BCCB-2751-E7673CAD133F}"/>
              </a:ext>
            </a:extLst>
          </p:cNvPr>
          <p:cNvSpPr txBox="1"/>
          <p:nvPr/>
        </p:nvSpPr>
        <p:spPr>
          <a:xfrm>
            <a:off x="1094233" y="9292299"/>
            <a:ext cx="15550000" cy="491160"/>
          </a:xfrm>
          <a:prstGeom prst="rect">
            <a:avLst/>
          </a:prstGeom>
          <a:noFill/>
        </p:spPr>
        <p:txBody>
          <a:bodyPr wrap="square" anchor="ctr">
            <a:spAutoFit/>
          </a:bodyPr>
          <a:lstStyle/>
          <a:p>
            <a:pPr defTabSz="1316553" fontAlgn="auto">
              <a:spcBef>
                <a:spcPts val="0"/>
              </a:spcBef>
              <a:spcAft>
                <a:spcPts val="0"/>
              </a:spcAft>
              <a:defRPr/>
            </a:pPr>
            <a:r>
              <a:rPr lang="es-ES" sz="1296" dirty="0">
                <a:solidFill>
                  <a:srgbClr val="3C3C3C"/>
                </a:solidFill>
                <a:latin typeface="Calibri" panose="020F0502020204030204"/>
                <a:cs typeface="+mn-cs"/>
              </a:rPr>
              <a:t>¹ Vida útil de la mina basada en el Informe de Minería 2023, calculada dividiendo las reservas por la capacidad de mineral extraído; ² Mina a cielo abierto (Tajo San Gerardo); ³ Vida útil de la mina basada en el "Resumen del Informe Técnico sobre la Integración del Complejo Cerro Pasco", considerando el plan actualizado de vida de mina.</a:t>
            </a:r>
            <a:endParaRPr lang="en-US" sz="1296" dirty="0">
              <a:solidFill>
                <a:srgbClr val="3C3C3C"/>
              </a:solidFill>
              <a:latin typeface="Calibri" panose="020F0502020204030204"/>
              <a:cs typeface="+mn-cs"/>
            </a:endParaRPr>
          </a:p>
        </p:txBody>
      </p:sp>
    </p:spTree>
    <p:extLst>
      <p:ext uri="{BB962C8B-B14F-4D97-AF65-F5344CB8AC3E}">
        <p14:creationId xmlns:p14="http://schemas.microsoft.com/office/powerpoint/2010/main" val="3757870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FEB6376B-0D61-2E1B-88D6-5A305372B4F9}"/>
              </a:ext>
            </a:extLst>
          </p:cNvPr>
          <p:cNvGrpSpPr/>
          <p:nvPr/>
        </p:nvGrpSpPr>
        <p:grpSpPr>
          <a:xfrm>
            <a:off x="0" y="0"/>
            <a:ext cx="17644937" cy="9968829"/>
            <a:chOff x="688" y="830802"/>
            <a:chExt cx="6873125" cy="3883097"/>
          </a:xfrm>
        </p:grpSpPr>
        <p:pic>
          <p:nvPicPr>
            <p:cNvPr id="2" name="Picture 45">
              <a:extLst>
                <a:ext uri="{FF2B5EF4-FFF2-40B4-BE49-F238E27FC236}">
                  <a16:creationId xmlns:a16="http://schemas.microsoft.com/office/drawing/2014/main" id="{E1D230B2-FB97-E078-DB23-839933E138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8" y="830802"/>
              <a:ext cx="6839163" cy="3847029"/>
            </a:xfrm>
            <a:prstGeom prst="rect">
              <a:avLst/>
            </a:prstGeom>
          </p:spPr>
        </p:pic>
        <p:pic>
          <p:nvPicPr>
            <p:cNvPr id="3" name="Picture 47">
              <a:extLst>
                <a:ext uri="{FF2B5EF4-FFF2-40B4-BE49-F238E27FC236}">
                  <a16:creationId xmlns:a16="http://schemas.microsoft.com/office/drawing/2014/main" id="{70ECB21A-AA0E-5A96-6476-B36ECC95EEB6}"/>
                </a:ext>
              </a:extLst>
            </p:cNvPr>
            <p:cNvPicPr>
              <a:picLocks noChangeAspect="1"/>
            </p:cNvPicPr>
            <p:nvPr/>
          </p:nvPicPr>
          <p:blipFill rotWithShape="1">
            <a:blip r:embed="rId4">
              <a:extLst>
                <a:ext uri="{28A0092B-C50C-407E-A947-70E740481C1C}">
                  <a14:useLocalDpi xmlns:a14="http://schemas.microsoft.com/office/drawing/2010/main" val="0"/>
                </a:ext>
              </a:extLst>
            </a:blip>
            <a:srcRect l="3605" r="31896"/>
            <a:stretch/>
          </p:blipFill>
          <p:spPr>
            <a:xfrm>
              <a:off x="11921" y="866097"/>
              <a:ext cx="4412047" cy="3847802"/>
            </a:xfrm>
            <a:prstGeom prst="rect">
              <a:avLst/>
            </a:prstGeom>
          </p:spPr>
        </p:pic>
        <p:sp>
          <p:nvSpPr>
            <p:cNvPr id="6" name="CuadroTexto 5">
              <a:extLst>
                <a:ext uri="{FF2B5EF4-FFF2-40B4-BE49-F238E27FC236}">
                  <a16:creationId xmlns:a16="http://schemas.microsoft.com/office/drawing/2014/main" id="{FD9313E7-4E12-CF86-046D-D0FE593759F2}"/>
                </a:ext>
              </a:extLst>
            </p:cNvPr>
            <p:cNvSpPr txBox="1"/>
            <p:nvPr/>
          </p:nvSpPr>
          <p:spPr>
            <a:xfrm>
              <a:off x="158842" y="1936989"/>
              <a:ext cx="2387399" cy="1894204"/>
            </a:xfrm>
            <a:prstGeom prst="rect">
              <a:avLst/>
            </a:prstGeom>
            <a:noFill/>
          </p:spPr>
          <p:txBody>
            <a:bodyPr wrap="square">
              <a:spAutoFit/>
            </a:bodyPr>
            <a:lstStyle/>
            <a:p>
              <a:pPr marL="457200" indent="-457200" defTabSz="178125">
                <a:spcAft>
                  <a:spcPts val="600"/>
                </a:spcAft>
                <a:buFont typeface="Wingdings" panose="05000000000000000000" pitchFamily="2" charset="2"/>
                <a:buChar char="Ø"/>
                <a:defRPr/>
              </a:pPr>
              <a:r>
                <a:rPr lang="es-ES" sz="2600" dirty="0">
                  <a:solidFill>
                    <a:schemeClr val="bg1"/>
                  </a:solidFill>
                  <a:latin typeface="Arial" panose="020B0604020202020204" pitchFamily="34" charset="0"/>
                  <a:ea typeface="Verdana" panose="020B0604030504040204" pitchFamily="34" charset="0"/>
                </a:rPr>
                <a:t> </a:t>
              </a:r>
              <a:r>
                <a:rPr lang="es-ES" sz="2800" b="1" dirty="0">
                  <a:solidFill>
                    <a:schemeClr val="bg1"/>
                  </a:solidFill>
                  <a:latin typeface="Arial" panose="020B0604020202020204" pitchFamily="34" charset="0"/>
                  <a:ea typeface="Verdana" panose="020B0604030504040204" pitchFamily="34" charset="0"/>
                </a:rPr>
                <a:t>Cartera de Proyectos</a:t>
              </a: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defTabSz="178125">
                <a:spcAft>
                  <a:spcPts val="600"/>
                </a:spcAft>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r>
                <a:rPr lang="es-ES" sz="2800" b="1" dirty="0">
                  <a:solidFill>
                    <a:schemeClr val="bg1"/>
                  </a:solidFill>
                  <a:latin typeface="Arial" panose="020B0604020202020204" pitchFamily="34" charset="0"/>
                  <a:ea typeface="Verdana" panose="020B0604030504040204" pitchFamily="34" charset="0"/>
                </a:rPr>
                <a:t>Costo de no ejecutar los Proyectos</a:t>
              </a:r>
            </a:p>
            <a:p>
              <a:pPr marL="457200" indent="-457200" defTabSz="178125">
                <a:spcAft>
                  <a:spcPts val="600"/>
                </a:spcAft>
                <a:buFont typeface="Wingdings" panose="05000000000000000000" pitchFamily="2" charset="2"/>
                <a:buChar char="Ø"/>
                <a:defRPr/>
              </a:pPr>
              <a:endParaRPr lang="es-ES" sz="28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r>
                <a:rPr lang="es-ES" sz="2800" b="1" dirty="0">
                  <a:solidFill>
                    <a:schemeClr val="bg1"/>
                  </a:solidFill>
                  <a:latin typeface="Arial" panose="020B0604020202020204" pitchFamily="34" charset="0"/>
                  <a:ea typeface="Verdana" panose="020B0604030504040204" pitchFamily="34" charset="0"/>
                </a:rPr>
                <a:t>¿Qué hubiera pasado? </a:t>
              </a:r>
              <a:endParaRPr lang="pt-BR" sz="2800" b="1" dirty="0">
                <a:solidFill>
                  <a:schemeClr val="bg1"/>
                </a:solidFill>
                <a:latin typeface="Arial" panose="020B0604020202020204" pitchFamily="34" charset="0"/>
                <a:ea typeface="Verdana" panose="020B0604030504040204" pitchFamily="34" charset="0"/>
              </a:endParaRPr>
            </a:p>
          </p:txBody>
        </p:sp>
        <p:pic>
          <p:nvPicPr>
            <p:cNvPr id="9" name="Picture 49">
              <a:extLst>
                <a:ext uri="{FF2B5EF4-FFF2-40B4-BE49-F238E27FC236}">
                  <a16:creationId xmlns:a16="http://schemas.microsoft.com/office/drawing/2014/main" id="{130C52E8-AA01-8E03-2E68-828FAA14DC45}"/>
                </a:ext>
              </a:extLst>
            </p:cNvPr>
            <p:cNvPicPr>
              <a:picLocks noChangeAspect="1"/>
            </p:cNvPicPr>
            <p:nvPr/>
          </p:nvPicPr>
          <p:blipFill rotWithShape="1">
            <a:blip r:embed="rId5">
              <a:extLst>
                <a:ext uri="{28A0092B-C50C-407E-A947-70E740481C1C}">
                  <a14:useLocalDpi xmlns:a14="http://schemas.microsoft.com/office/drawing/2010/main" val="0"/>
                </a:ext>
              </a:extLst>
            </a:blip>
            <a:srcRect l="18962" t="5698" r="38840"/>
            <a:stretch/>
          </p:blipFill>
          <p:spPr>
            <a:xfrm>
              <a:off x="1744684" y="939645"/>
              <a:ext cx="2886556" cy="3628570"/>
            </a:xfrm>
            <a:prstGeom prst="rect">
              <a:avLst/>
            </a:prstGeom>
          </p:spPr>
        </p:pic>
        <p:sp>
          <p:nvSpPr>
            <p:cNvPr id="10" name="CuadroTexto 9">
              <a:extLst>
                <a:ext uri="{FF2B5EF4-FFF2-40B4-BE49-F238E27FC236}">
                  <a16:creationId xmlns:a16="http://schemas.microsoft.com/office/drawing/2014/main" id="{FA0987CB-3ADB-E021-195C-08D71160EC3D}"/>
                </a:ext>
              </a:extLst>
            </p:cNvPr>
            <p:cNvSpPr txBox="1"/>
            <p:nvPr/>
          </p:nvSpPr>
          <p:spPr>
            <a:xfrm>
              <a:off x="332493" y="1087903"/>
              <a:ext cx="2491059" cy="227784"/>
            </a:xfrm>
            <a:prstGeom prst="rect">
              <a:avLst/>
            </a:prstGeom>
            <a:noFill/>
          </p:spPr>
          <p:txBody>
            <a:bodyPr wrap="square">
              <a:spAutoFit/>
            </a:bodyPr>
            <a:lstStyle/>
            <a:p>
              <a:pPr defTabSz="178125">
                <a:lnSpc>
                  <a:spcPct val="80000"/>
                </a:lnSpc>
                <a:defRPr/>
              </a:pPr>
              <a:r>
                <a:rPr lang="es-ES" sz="4000" dirty="0">
                  <a:solidFill>
                    <a:prstClr val="white"/>
                  </a:solidFill>
                  <a:latin typeface="Votorantim Sans Black" panose="02010A03030202050203" pitchFamily="2" charset="0"/>
                  <a:ea typeface="ＭＳ Ｐゴシック" panose="020B0600070205080204" pitchFamily="34" charset="-128"/>
                </a:rPr>
                <a:t>Desarrollo de Proyectos</a:t>
              </a:r>
              <a:endParaRPr lang="pt-BR" sz="4000" dirty="0">
                <a:solidFill>
                  <a:prstClr val="white"/>
                </a:solidFill>
                <a:latin typeface="Votorantim Sans Black" panose="02010A03030202050203" pitchFamily="2" charset="0"/>
                <a:ea typeface="ＭＳ Ｐゴシック" panose="020B0600070205080204" pitchFamily="34" charset="-128"/>
              </a:endParaRPr>
            </a:p>
          </p:txBody>
        </p:sp>
        <p:sp>
          <p:nvSpPr>
            <p:cNvPr id="12" name="CuadroTexto 11">
              <a:extLst>
                <a:ext uri="{FF2B5EF4-FFF2-40B4-BE49-F238E27FC236}">
                  <a16:creationId xmlns:a16="http://schemas.microsoft.com/office/drawing/2014/main" id="{88BA5B28-E889-0E15-D45F-4F69A7F5FAE7}"/>
                </a:ext>
              </a:extLst>
            </p:cNvPr>
            <p:cNvSpPr txBox="1"/>
            <p:nvPr/>
          </p:nvSpPr>
          <p:spPr>
            <a:xfrm>
              <a:off x="4384670" y="1827195"/>
              <a:ext cx="2224706" cy="208602"/>
            </a:xfrm>
            <a:prstGeom prst="rect">
              <a:avLst/>
            </a:prstGeom>
            <a:noFill/>
          </p:spPr>
          <p:txBody>
            <a:bodyPr wrap="square">
              <a:spAutoFit/>
            </a:bodyPr>
            <a:lstStyle/>
            <a:p>
              <a:pPr defTabSz="178125">
                <a:lnSpc>
                  <a:spcPct val="80000"/>
                </a:lnSpc>
                <a:defRPr/>
              </a:pPr>
              <a:r>
                <a:rPr lang="es-ES" sz="3600" i="1" dirty="0">
                  <a:solidFill>
                    <a:prstClr val="white"/>
                  </a:solidFill>
                  <a:latin typeface="Votorantim Sans Black" panose="02010A03030202050203" pitchFamily="2" charset="0"/>
                  <a:ea typeface="ＭＳ Ｐゴシック" panose="020B0600070205080204" pitchFamily="34" charset="-128"/>
                </a:rPr>
                <a:t>Desafíos en Permisos</a:t>
              </a:r>
              <a:endParaRPr lang="pt-BR" sz="3600" i="1" dirty="0">
                <a:solidFill>
                  <a:prstClr val="white"/>
                </a:solidFill>
                <a:latin typeface="Votorantim Sans Black" panose="02010A03030202050203" pitchFamily="2" charset="0"/>
                <a:ea typeface="ＭＳ Ｐゴシック" panose="020B0600070205080204" pitchFamily="34" charset="-128"/>
              </a:endParaRPr>
            </a:p>
          </p:txBody>
        </p:sp>
        <p:sp>
          <p:nvSpPr>
            <p:cNvPr id="13" name="CuadroTexto 12">
              <a:extLst>
                <a:ext uri="{FF2B5EF4-FFF2-40B4-BE49-F238E27FC236}">
                  <a16:creationId xmlns:a16="http://schemas.microsoft.com/office/drawing/2014/main" id="{F8000E29-0513-B647-D5DC-36794AE713CD}"/>
                </a:ext>
              </a:extLst>
            </p:cNvPr>
            <p:cNvSpPr txBox="1"/>
            <p:nvPr/>
          </p:nvSpPr>
          <p:spPr>
            <a:xfrm>
              <a:off x="4443147" y="2322108"/>
              <a:ext cx="2430666" cy="875170"/>
            </a:xfrm>
            <a:prstGeom prst="rect">
              <a:avLst/>
            </a:prstGeom>
            <a:noFill/>
          </p:spPr>
          <p:txBody>
            <a:bodyPr wrap="square">
              <a:spAutoFit/>
            </a:bodyPr>
            <a:lstStyle/>
            <a:p>
              <a:pPr marL="457200" indent="-457200" defTabSz="178125">
                <a:buFont typeface="Wingdings" panose="05000000000000000000" pitchFamily="2" charset="2"/>
                <a:buChar char="Ø"/>
                <a:defRPr/>
              </a:pPr>
              <a:r>
                <a:rPr lang="es-ES" sz="2800" b="1" dirty="0">
                  <a:solidFill>
                    <a:schemeClr val="bg1"/>
                  </a:solidFill>
                  <a:latin typeface="Arial" panose="020B0604020202020204" pitchFamily="34" charset="0"/>
                </a:rPr>
                <a:t>Situación Permisos</a:t>
              </a:r>
            </a:p>
            <a:p>
              <a:pPr marL="457200" indent="-457200" defTabSz="178125">
                <a:buFont typeface="Wingdings" panose="05000000000000000000" pitchFamily="2" charset="2"/>
                <a:buChar char="Ø"/>
                <a:defRPr/>
              </a:pPr>
              <a:endParaRPr lang="es-ES" sz="2800" b="1" dirty="0">
                <a:solidFill>
                  <a:schemeClr val="bg1"/>
                </a:solidFill>
                <a:latin typeface="Arial" panose="020B0604020202020204" pitchFamily="34" charset="0"/>
              </a:endParaRPr>
            </a:p>
            <a:p>
              <a:pPr marL="457200" indent="-457200" defTabSz="178125">
                <a:buFont typeface="Wingdings" panose="05000000000000000000" pitchFamily="2" charset="2"/>
                <a:buChar char="Ø"/>
                <a:defRPr/>
              </a:pPr>
              <a:r>
                <a:rPr lang="es-ES" sz="2800" b="1" dirty="0">
                  <a:solidFill>
                    <a:schemeClr val="bg1"/>
                  </a:solidFill>
                  <a:latin typeface="Arial" panose="020B0604020202020204" pitchFamily="34" charset="0"/>
                </a:rPr>
                <a:t>Institucionalidad</a:t>
              </a:r>
            </a:p>
            <a:p>
              <a:pPr marL="457200" indent="-457200" defTabSz="178125">
                <a:buFont typeface="Wingdings" panose="05000000000000000000" pitchFamily="2" charset="2"/>
                <a:buChar char="Ø"/>
                <a:defRPr/>
              </a:pPr>
              <a:endParaRPr lang="es-ES" sz="2800" b="1" dirty="0">
                <a:solidFill>
                  <a:schemeClr val="bg1"/>
                </a:solidFill>
                <a:latin typeface="Arial" panose="020B0604020202020204" pitchFamily="34" charset="0"/>
              </a:endParaRPr>
            </a:p>
            <a:p>
              <a:pPr marL="457200" indent="-457200" defTabSz="178125">
                <a:buFont typeface="Wingdings" panose="05000000000000000000" pitchFamily="2" charset="2"/>
                <a:buChar char="Ø"/>
                <a:defRPr/>
              </a:pPr>
              <a:r>
                <a:rPr lang="es-ES" sz="2800" b="1" dirty="0">
                  <a:solidFill>
                    <a:schemeClr val="bg1"/>
                  </a:solidFill>
                  <a:latin typeface="Arial" panose="020B0604020202020204" pitchFamily="34" charset="0"/>
                </a:rPr>
                <a:t>Propuestas</a:t>
              </a:r>
            </a:p>
          </p:txBody>
        </p:sp>
      </p:grpSp>
      <p:sp>
        <p:nvSpPr>
          <p:cNvPr id="4" name="CuadroTexto 3">
            <a:extLst>
              <a:ext uri="{FF2B5EF4-FFF2-40B4-BE49-F238E27FC236}">
                <a16:creationId xmlns:a16="http://schemas.microsoft.com/office/drawing/2014/main" id="{9565651E-6879-CC1C-361D-0462F02BB390}"/>
              </a:ext>
            </a:extLst>
          </p:cNvPr>
          <p:cNvSpPr txBox="1"/>
          <p:nvPr/>
        </p:nvSpPr>
        <p:spPr>
          <a:xfrm>
            <a:off x="898426" y="4109011"/>
            <a:ext cx="4214065" cy="978729"/>
          </a:xfrm>
          <a:prstGeom prst="rect">
            <a:avLst/>
          </a:prstGeom>
          <a:noFill/>
        </p:spPr>
        <p:txBody>
          <a:bodyPr wrap="square">
            <a:spAutoFit/>
          </a:bodyPr>
          <a:lstStyle/>
          <a:p>
            <a:pPr defTabSz="178125">
              <a:lnSpc>
                <a:spcPct val="80000"/>
              </a:lnSpc>
              <a:defRPr/>
            </a:pPr>
            <a:r>
              <a:rPr lang="es-ES" sz="3600" i="1" dirty="0">
                <a:solidFill>
                  <a:prstClr val="white"/>
                </a:solidFill>
                <a:latin typeface="Votorantim Sans Black" panose="02010A03030202050203" pitchFamily="2" charset="0"/>
                <a:ea typeface="ＭＳ Ｐゴシック" panose="020B0600070205080204" pitchFamily="34" charset="-128"/>
              </a:rPr>
              <a:t>Situación de la Inversión</a:t>
            </a:r>
            <a:endParaRPr lang="pt-BR" sz="3600" i="1" dirty="0">
              <a:solidFill>
                <a:prstClr val="white"/>
              </a:solidFill>
              <a:latin typeface="Votorantim Sans Black" panose="02010A03030202050203" pitchFamily="2" charset="0"/>
              <a:ea typeface="ＭＳ Ｐゴシック" panose="020B0600070205080204" pitchFamily="34" charset="-128"/>
            </a:endParaRPr>
          </a:p>
        </p:txBody>
      </p:sp>
      <p:sp>
        <p:nvSpPr>
          <p:cNvPr id="5" name="CuadroTexto 4">
            <a:extLst>
              <a:ext uri="{FF2B5EF4-FFF2-40B4-BE49-F238E27FC236}">
                <a16:creationId xmlns:a16="http://schemas.microsoft.com/office/drawing/2014/main" id="{8DB625E1-4794-1FD5-7F65-986F2515822E}"/>
              </a:ext>
            </a:extLst>
          </p:cNvPr>
          <p:cNvSpPr txBox="1"/>
          <p:nvPr/>
        </p:nvSpPr>
        <p:spPr>
          <a:xfrm>
            <a:off x="876443" y="1768295"/>
            <a:ext cx="4214065" cy="535531"/>
          </a:xfrm>
          <a:prstGeom prst="rect">
            <a:avLst/>
          </a:prstGeom>
          <a:noFill/>
        </p:spPr>
        <p:txBody>
          <a:bodyPr wrap="square">
            <a:spAutoFit/>
          </a:bodyPr>
          <a:lstStyle/>
          <a:p>
            <a:pPr defTabSz="178125">
              <a:lnSpc>
                <a:spcPct val="80000"/>
              </a:lnSpc>
              <a:defRPr/>
            </a:pPr>
            <a:r>
              <a:rPr lang="es-ES" sz="3600" i="1" dirty="0">
                <a:solidFill>
                  <a:srgbClr val="FF5000"/>
                </a:solidFill>
                <a:latin typeface="Votorantim Sans Black" panose="02010A03030202050203" pitchFamily="2" charset="0"/>
                <a:ea typeface="ＭＳ Ｐゴシック" panose="020B0600070205080204" pitchFamily="34" charset="-128"/>
              </a:rPr>
              <a:t>Oportunidades</a:t>
            </a:r>
            <a:endParaRPr lang="pt-BR" sz="3600" i="1" dirty="0">
              <a:solidFill>
                <a:srgbClr val="FF5000"/>
              </a:solidFill>
              <a:latin typeface="Votorantim Sans Black" panose="02010A03030202050203" pitchFamily="2" charset="0"/>
              <a:ea typeface="ＭＳ Ｐゴシック" panose="020B0600070205080204" pitchFamily="34" charset="-128"/>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536085" y="106907"/>
            <a:ext cx="15136128"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ES" sz="4031" b="1" dirty="0">
                <a:latin typeface="Verdana" panose="020B0604030504040204" pitchFamily="34" charset="0"/>
                <a:ea typeface="Verdana" panose="020B0604030504040204" pitchFamily="34" charset="0"/>
              </a:rPr>
              <a:t>País Minero: importante productor mundial</a:t>
            </a:r>
            <a:endParaRPr lang="en-US" sz="4031" b="1" dirty="0">
              <a:latin typeface="Verdana" panose="020B0604030504040204" pitchFamily="34" charset="0"/>
              <a:ea typeface="Verdana" panose="020B0604030504040204" pitchFamily="34" charset="0"/>
            </a:endParaRPr>
          </a:p>
        </p:txBody>
      </p:sp>
      <p:sp>
        <p:nvSpPr>
          <p:cNvPr id="3" name="16 CuadroTexto">
            <a:extLst>
              <a:ext uri="{FF2B5EF4-FFF2-40B4-BE49-F238E27FC236}">
                <a16:creationId xmlns:a16="http://schemas.microsoft.com/office/drawing/2014/main" id="{E2AA6FF3-6F6C-9505-3D5F-07F367E88DA6}"/>
              </a:ext>
            </a:extLst>
          </p:cNvPr>
          <p:cNvSpPr txBox="1">
            <a:spLocks noChangeArrowheads="1"/>
          </p:cNvSpPr>
          <p:nvPr/>
        </p:nvSpPr>
        <p:spPr bwMode="auto">
          <a:xfrm>
            <a:off x="629500" y="8767231"/>
            <a:ext cx="3018124" cy="24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fontAlgn="base">
              <a:spcBef>
                <a:spcPct val="20000"/>
              </a:spcBef>
              <a:spcAft>
                <a:spcPct val="0"/>
              </a:spcAft>
              <a:buFont typeface="Arial" charset="0"/>
              <a:buChar char="»"/>
              <a:defRPr sz="2000">
                <a:solidFill>
                  <a:schemeClr val="tx1"/>
                </a:solidFill>
                <a:latin typeface="Calibri" pitchFamily="34" charset="0"/>
              </a:defRPr>
            </a:lvl6pPr>
            <a:lvl7pPr marL="2971800" indent="-228600" fontAlgn="base">
              <a:spcBef>
                <a:spcPct val="20000"/>
              </a:spcBef>
              <a:spcAft>
                <a:spcPct val="0"/>
              </a:spcAft>
              <a:buFont typeface="Arial" charset="0"/>
              <a:buChar char="»"/>
              <a:defRPr sz="2000">
                <a:solidFill>
                  <a:schemeClr val="tx1"/>
                </a:solidFill>
                <a:latin typeface="Calibri" pitchFamily="34" charset="0"/>
              </a:defRPr>
            </a:lvl7pPr>
            <a:lvl8pPr marL="3429000" indent="-228600" fontAlgn="base">
              <a:spcBef>
                <a:spcPct val="20000"/>
              </a:spcBef>
              <a:spcAft>
                <a:spcPct val="0"/>
              </a:spcAft>
              <a:buFont typeface="Arial" charset="0"/>
              <a:buChar char="»"/>
              <a:defRPr sz="2000">
                <a:solidFill>
                  <a:schemeClr val="tx1"/>
                </a:solidFill>
                <a:latin typeface="Calibri" pitchFamily="34" charset="0"/>
              </a:defRPr>
            </a:lvl8pPr>
            <a:lvl9pPr marL="3886200" indent="-228600" fontAlgn="base">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pPr>
            <a:r>
              <a:rPr lang="es-PE" altLang="es-PE" sz="1008" dirty="0">
                <a:latin typeface="Lato" panose="020F0502020204030203" pitchFamily="34" charset="0"/>
                <a:ea typeface="Lato" panose="020F0502020204030203" pitchFamily="34" charset="0"/>
                <a:cs typeface="Lato" panose="020F0502020204030203" pitchFamily="34" charset="0"/>
              </a:rPr>
              <a:t>Fuente: MINEM, USGS.</a:t>
            </a:r>
          </a:p>
        </p:txBody>
      </p:sp>
      <p:graphicFrame>
        <p:nvGraphicFramePr>
          <p:cNvPr id="4" name="Gráfico 3">
            <a:extLst>
              <a:ext uri="{FF2B5EF4-FFF2-40B4-BE49-F238E27FC236}">
                <a16:creationId xmlns:a16="http://schemas.microsoft.com/office/drawing/2014/main" id="{2D46D2C1-DF7C-1E52-48F5-AC1926E808BB}"/>
              </a:ext>
            </a:extLst>
          </p:cNvPr>
          <p:cNvGraphicFramePr>
            <a:graphicFrameLocks/>
          </p:cNvGraphicFramePr>
          <p:nvPr>
            <p:extLst>
              <p:ext uri="{D42A27DB-BD31-4B8C-83A1-F6EECF244321}">
                <p14:modId xmlns:p14="http://schemas.microsoft.com/office/powerpoint/2010/main" val="119351077"/>
              </p:ext>
            </p:extLst>
          </p:nvPr>
        </p:nvGraphicFramePr>
        <p:xfrm>
          <a:off x="2555893" y="1918993"/>
          <a:ext cx="2039037" cy="156401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Gráfico 4">
            <a:extLst>
              <a:ext uri="{FF2B5EF4-FFF2-40B4-BE49-F238E27FC236}">
                <a16:creationId xmlns:a16="http://schemas.microsoft.com/office/drawing/2014/main" id="{ED55A90C-CA6F-185E-B3C3-5288C4CBDF26}"/>
              </a:ext>
            </a:extLst>
          </p:cNvPr>
          <p:cNvGraphicFramePr>
            <a:graphicFrameLocks/>
          </p:cNvGraphicFramePr>
          <p:nvPr>
            <p:extLst>
              <p:ext uri="{D42A27DB-BD31-4B8C-83A1-F6EECF244321}">
                <p14:modId xmlns:p14="http://schemas.microsoft.com/office/powerpoint/2010/main" val="2223961001"/>
              </p:ext>
            </p:extLst>
          </p:nvPr>
        </p:nvGraphicFramePr>
        <p:xfrm>
          <a:off x="2507598" y="3613018"/>
          <a:ext cx="2443232" cy="159837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Gráfico 5">
            <a:extLst>
              <a:ext uri="{FF2B5EF4-FFF2-40B4-BE49-F238E27FC236}">
                <a16:creationId xmlns:a16="http://schemas.microsoft.com/office/drawing/2014/main" id="{FE4DBCF9-46B6-34A0-8DA5-EE9ECA4B7F86}"/>
              </a:ext>
            </a:extLst>
          </p:cNvPr>
          <p:cNvGraphicFramePr>
            <a:graphicFrameLocks/>
          </p:cNvGraphicFramePr>
          <p:nvPr>
            <p:extLst>
              <p:ext uri="{D42A27DB-BD31-4B8C-83A1-F6EECF244321}">
                <p14:modId xmlns:p14="http://schemas.microsoft.com/office/powerpoint/2010/main" val="2434042742"/>
              </p:ext>
            </p:extLst>
          </p:nvPr>
        </p:nvGraphicFramePr>
        <p:xfrm>
          <a:off x="2519125" y="5376121"/>
          <a:ext cx="2189657" cy="14736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Gráfico 6">
            <a:extLst>
              <a:ext uri="{FF2B5EF4-FFF2-40B4-BE49-F238E27FC236}">
                <a16:creationId xmlns:a16="http://schemas.microsoft.com/office/drawing/2014/main" id="{94B48DC0-9C8B-37E8-DFEF-18070383DF48}"/>
              </a:ext>
            </a:extLst>
          </p:cNvPr>
          <p:cNvGraphicFramePr>
            <a:graphicFrameLocks/>
          </p:cNvGraphicFramePr>
          <p:nvPr>
            <p:extLst>
              <p:ext uri="{D42A27DB-BD31-4B8C-83A1-F6EECF244321}">
                <p14:modId xmlns:p14="http://schemas.microsoft.com/office/powerpoint/2010/main" val="2670815891"/>
              </p:ext>
            </p:extLst>
          </p:nvPr>
        </p:nvGraphicFramePr>
        <p:xfrm>
          <a:off x="2519125" y="6962463"/>
          <a:ext cx="2431705" cy="1673909"/>
        </p:xfrm>
        <a:graphic>
          <a:graphicData uri="http://schemas.openxmlformats.org/drawingml/2006/chart">
            <c:chart xmlns:c="http://schemas.openxmlformats.org/drawingml/2006/chart" xmlns:r="http://schemas.openxmlformats.org/officeDocument/2006/relationships" r:id="rId7"/>
          </a:graphicData>
        </a:graphic>
      </p:graphicFrame>
      <p:sp>
        <p:nvSpPr>
          <p:cNvPr id="8" name="Rectángulo: esquinas redondeadas 7">
            <a:extLst>
              <a:ext uri="{FF2B5EF4-FFF2-40B4-BE49-F238E27FC236}">
                <a16:creationId xmlns:a16="http://schemas.microsoft.com/office/drawing/2014/main" id="{2509A871-9EC0-59C6-580F-DC4E4A3AA288}"/>
              </a:ext>
            </a:extLst>
          </p:cNvPr>
          <p:cNvSpPr/>
          <p:nvPr/>
        </p:nvSpPr>
        <p:spPr>
          <a:xfrm>
            <a:off x="629503" y="1842655"/>
            <a:ext cx="4593646" cy="1710465"/>
          </a:xfrm>
          <a:prstGeom prst="roundRect">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ángulo: esquinas redondeadas 9">
            <a:extLst>
              <a:ext uri="{FF2B5EF4-FFF2-40B4-BE49-F238E27FC236}">
                <a16:creationId xmlns:a16="http://schemas.microsoft.com/office/drawing/2014/main" id="{31C66B52-5219-FB07-DBC9-5ADC495EAE13}"/>
              </a:ext>
            </a:extLst>
          </p:cNvPr>
          <p:cNvSpPr/>
          <p:nvPr/>
        </p:nvSpPr>
        <p:spPr>
          <a:xfrm>
            <a:off x="629503" y="5232056"/>
            <a:ext cx="4593649" cy="1710465"/>
          </a:xfrm>
          <a:prstGeom prst="roundRect">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ángulo: esquinas redondeadas 17">
            <a:extLst>
              <a:ext uri="{FF2B5EF4-FFF2-40B4-BE49-F238E27FC236}">
                <a16:creationId xmlns:a16="http://schemas.microsoft.com/office/drawing/2014/main" id="{42E9652B-B617-FDF3-5029-2B9F284BA201}"/>
              </a:ext>
            </a:extLst>
          </p:cNvPr>
          <p:cNvSpPr/>
          <p:nvPr/>
        </p:nvSpPr>
        <p:spPr>
          <a:xfrm>
            <a:off x="629503" y="3537355"/>
            <a:ext cx="4593646" cy="1710465"/>
          </a:xfrm>
          <a:prstGeom prst="round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ángulo: esquinas redondeadas 18">
            <a:extLst>
              <a:ext uri="{FF2B5EF4-FFF2-40B4-BE49-F238E27FC236}">
                <a16:creationId xmlns:a16="http://schemas.microsoft.com/office/drawing/2014/main" id="{F15011A0-9848-38F4-5D52-67852ED007A0}"/>
              </a:ext>
            </a:extLst>
          </p:cNvPr>
          <p:cNvSpPr/>
          <p:nvPr/>
        </p:nvSpPr>
        <p:spPr>
          <a:xfrm>
            <a:off x="629501" y="6926756"/>
            <a:ext cx="4593648" cy="1710465"/>
          </a:xfrm>
          <a:prstGeom prst="round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CuadroTexto 19">
            <a:extLst>
              <a:ext uri="{FF2B5EF4-FFF2-40B4-BE49-F238E27FC236}">
                <a16:creationId xmlns:a16="http://schemas.microsoft.com/office/drawing/2014/main" id="{11B8FE5D-9700-9EA9-CCF4-E2B879821435}"/>
              </a:ext>
            </a:extLst>
          </p:cNvPr>
          <p:cNvSpPr txBox="1"/>
          <p:nvPr/>
        </p:nvSpPr>
        <p:spPr>
          <a:xfrm>
            <a:off x="409523" y="2037158"/>
            <a:ext cx="2209873" cy="646331"/>
          </a:xfrm>
          <a:prstGeom prst="rect">
            <a:avLst/>
          </a:prstGeom>
          <a:noFill/>
        </p:spPr>
        <p:txBody>
          <a:bodyPr wrap="square" rtlCol="0">
            <a:spAutoFit/>
          </a:bodyPr>
          <a:lstStyle/>
          <a:p>
            <a:pPr algn="ctr"/>
            <a:r>
              <a:rPr lang="es-PE" sz="2016" b="1" dirty="0"/>
              <a:t>Cobre</a:t>
            </a:r>
          </a:p>
          <a:p>
            <a:pPr algn="ctr"/>
            <a:r>
              <a:rPr lang="es-PE" sz="1584" dirty="0"/>
              <a:t>Millones de TMF</a:t>
            </a:r>
          </a:p>
        </p:txBody>
      </p:sp>
      <p:sp>
        <p:nvSpPr>
          <p:cNvPr id="21" name="CuadroTexto 20">
            <a:extLst>
              <a:ext uri="{FF2B5EF4-FFF2-40B4-BE49-F238E27FC236}">
                <a16:creationId xmlns:a16="http://schemas.microsoft.com/office/drawing/2014/main" id="{FA435D3A-56BD-9122-39AD-FAA716C63E97}"/>
              </a:ext>
            </a:extLst>
          </p:cNvPr>
          <p:cNvSpPr txBox="1"/>
          <p:nvPr/>
        </p:nvSpPr>
        <p:spPr>
          <a:xfrm>
            <a:off x="745451" y="3735691"/>
            <a:ext cx="2209873" cy="646331"/>
          </a:xfrm>
          <a:prstGeom prst="rect">
            <a:avLst/>
          </a:prstGeom>
          <a:noFill/>
        </p:spPr>
        <p:txBody>
          <a:bodyPr wrap="square" rtlCol="0">
            <a:spAutoFit/>
          </a:bodyPr>
          <a:lstStyle/>
          <a:p>
            <a:pPr algn="ctr"/>
            <a:r>
              <a:rPr lang="es-PE" sz="2016" b="1" dirty="0"/>
              <a:t>Oro</a:t>
            </a:r>
          </a:p>
          <a:p>
            <a:pPr algn="ctr"/>
            <a:r>
              <a:rPr lang="es-PE" sz="1584" dirty="0"/>
              <a:t>TMF</a:t>
            </a:r>
            <a:endParaRPr lang="es-PE" sz="2016" dirty="0"/>
          </a:p>
        </p:txBody>
      </p:sp>
      <p:sp>
        <p:nvSpPr>
          <p:cNvPr id="22" name="CuadroTexto 21">
            <a:extLst>
              <a:ext uri="{FF2B5EF4-FFF2-40B4-BE49-F238E27FC236}">
                <a16:creationId xmlns:a16="http://schemas.microsoft.com/office/drawing/2014/main" id="{8F2A177B-D5C5-E694-60D6-3B14123CCBEE}"/>
              </a:ext>
            </a:extLst>
          </p:cNvPr>
          <p:cNvSpPr txBox="1"/>
          <p:nvPr/>
        </p:nvSpPr>
        <p:spPr>
          <a:xfrm>
            <a:off x="843586" y="5454853"/>
            <a:ext cx="1906571" cy="646331"/>
          </a:xfrm>
          <a:prstGeom prst="rect">
            <a:avLst/>
          </a:prstGeom>
          <a:noFill/>
        </p:spPr>
        <p:txBody>
          <a:bodyPr wrap="square">
            <a:spAutoFit/>
          </a:bodyPr>
          <a:lstStyle/>
          <a:p>
            <a:pPr algn="ctr"/>
            <a:r>
              <a:rPr lang="es-PE" sz="2016" b="1" dirty="0"/>
              <a:t>Plata</a:t>
            </a:r>
          </a:p>
          <a:p>
            <a:pPr algn="ctr"/>
            <a:r>
              <a:rPr lang="es-PE" sz="1584" dirty="0"/>
              <a:t>Miles de TMF</a:t>
            </a:r>
          </a:p>
        </p:txBody>
      </p:sp>
      <p:sp>
        <p:nvSpPr>
          <p:cNvPr id="23" name="CuadroTexto 22">
            <a:extLst>
              <a:ext uri="{FF2B5EF4-FFF2-40B4-BE49-F238E27FC236}">
                <a16:creationId xmlns:a16="http://schemas.microsoft.com/office/drawing/2014/main" id="{B79F5818-CD06-1FC6-A8E5-A58650544C79}"/>
              </a:ext>
            </a:extLst>
          </p:cNvPr>
          <p:cNvSpPr txBox="1"/>
          <p:nvPr/>
        </p:nvSpPr>
        <p:spPr>
          <a:xfrm>
            <a:off x="771657" y="7136872"/>
            <a:ext cx="1906571" cy="646331"/>
          </a:xfrm>
          <a:prstGeom prst="rect">
            <a:avLst/>
          </a:prstGeom>
          <a:noFill/>
        </p:spPr>
        <p:txBody>
          <a:bodyPr wrap="square">
            <a:spAutoFit/>
          </a:bodyPr>
          <a:lstStyle/>
          <a:p>
            <a:pPr algn="ctr"/>
            <a:r>
              <a:rPr lang="es-PE" sz="2016" b="1" dirty="0"/>
              <a:t>Zinc</a:t>
            </a:r>
          </a:p>
          <a:p>
            <a:pPr algn="ctr"/>
            <a:r>
              <a:rPr lang="es-PE" sz="1584" dirty="0"/>
              <a:t>Millones de TMF</a:t>
            </a:r>
          </a:p>
        </p:txBody>
      </p:sp>
      <p:pic>
        <p:nvPicPr>
          <p:cNvPr id="24" name="Imagen 23">
            <a:extLst>
              <a:ext uri="{FF2B5EF4-FFF2-40B4-BE49-F238E27FC236}">
                <a16:creationId xmlns:a16="http://schemas.microsoft.com/office/drawing/2014/main" id="{094E0C3A-30F2-3B8E-E0DB-A64C327401DF}"/>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271353" y="2709006"/>
            <a:ext cx="975021" cy="622849"/>
          </a:xfrm>
          <a:prstGeom prst="rect">
            <a:avLst/>
          </a:prstGeom>
        </p:spPr>
      </p:pic>
      <p:pic>
        <p:nvPicPr>
          <p:cNvPr id="25" name="Imagen 24">
            <a:extLst>
              <a:ext uri="{FF2B5EF4-FFF2-40B4-BE49-F238E27FC236}">
                <a16:creationId xmlns:a16="http://schemas.microsoft.com/office/drawing/2014/main" id="{2552C155-02C8-34DC-81F5-40EB0D3B5B29}"/>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251931" y="4296372"/>
            <a:ext cx="1033572" cy="711639"/>
          </a:xfrm>
          <a:prstGeom prst="rect">
            <a:avLst/>
          </a:prstGeom>
        </p:spPr>
      </p:pic>
      <p:pic>
        <p:nvPicPr>
          <p:cNvPr id="26" name="Imagen 25">
            <a:extLst>
              <a:ext uri="{FF2B5EF4-FFF2-40B4-BE49-F238E27FC236}">
                <a16:creationId xmlns:a16="http://schemas.microsoft.com/office/drawing/2014/main" id="{2758679C-DC33-37B3-7F72-5F4A8455C111}"/>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Lst>
          </a:blip>
          <a:stretch>
            <a:fillRect/>
          </a:stretch>
        </p:blipFill>
        <p:spPr>
          <a:xfrm>
            <a:off x="1278477" y="6032706"/>
            <a:ext cx="1029247" cy="770942"/>
          </a:xfrm>
          <a:prstGeom prst="rect">
            <a:avLst/>
          </a:prstGeom>
        </p:spPr>
      </p:pic>
      <p:pic>
        <p:nvPicPr>
          <p:cNvPr id="27" name="Imagen 26">
            <a:extLst>
              <a:ext uri="{FF2B5EF4-FFF2-40B4-BE49-F238E27FC236}">
                <a16:creationId xmlns:a16="http://schemas.microsoft.com/office/drawing/2014/main" id="{0735BD07-B61F-8C5A-117C-B63C9400998A}"/>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Lst>
          </a:blip>
          <a:stretch>
            <a:fillRect/>
          </a:stretch>
        </p:blipFill>
        <p:spPr>
          <a:xfrm>
            <a:off x="1139694" y="7704693"/>
            <a:ext cx="1036727" cy="777545"/>
          </a:xfrm>
          <a:prstGeom prst="rect">
            <a:avLst/>
          </a:prstGeom>
        </p:spPr>
      </p:pic>
      <p:pic>
        <p:nvPicPr>
          <p:cNvPr id="35" name="Imagen 34">
            <a:extLst>
              <a:ext uri="{FF2B5EF4-FFF2-40B4-BE49-F238E27FC236}">
                <a16:creationId xmlns:a16="http://schemas.microsoft.com/office/drawing/2014/main" id="{E3680F20-AD0C-937B-768A-89A622E057E8}"/>
              </a:ext>
            </a:extLst>
          </p:cNvPr>
          <p:cNvPicPr>
            <a:picLocks noChangeAspect="1"/>
          </p:cNvPicPr>
          <p:nvPr/>
        </p:nvPicPr>
        <p:blipFill rotWithShape="1">
          <a:blip r:embed="rId16"/>
          <a:srcRect l="25156" t="24722" r="6042" b="8148"/>
          <a:stretch/>
        </p:blipFill>
        <p:spPr bwMode="auto">
          <a:xfrm>
            <a:off x="5549519" y="2184957"/>
            <a:ext cx="11331669" cy="6219122"/>
          </a:xfrm>
          <a:prstGeom prst="rect">
            <a:avLst/>
          </a:prstGeom>
          <a:ln>
            <a:noFill/>
          </a:ln>
          <a:extLst>
            <a:ext uri="{53640926-AAD7-44D8-BBD7-CCE9431645EC}">
              <a14:shadowObscured xmlns:a14="http://schemas.microsoft.com/office/drawing/2010/main"/>
            </a:ext>
          </a:extLst>
        </p:spPr>
      </p:pic>
      <p:sp>
        <p:nvSpPr>
          <p:cNvPr id="36" name="Elipse 35">
            <a:extLst>
              <a:ext uri="{FF2B5EF4-FFF2-40B4-BE49-F238E27FC236}">
                <a16:creationId xmlns:a16="http://schemas.microsoft.com/office/drawing/2014/main" id="{00B55FC9-7078-6002-92C8-D166A1C6C293}"/>
              </a:ext>
            </a:extLst>
          </p:cNvPr>
          <p:cNvSpPr/>
          <p:nvPr/>
        </p:nvSpPr>
        <p:spPr>
          <a:xfrm>
            <a:off x="10957116" y="3091154"/>
            <a:ext cx="698587" cy="71455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7" name="Elipse 36">
            <a:extLst>
              <a:ext uri="{FF2B5EF4-FFF2-40B4-BE49-F238E27FC236}">
                <a16:creationId xmlns:a16="http://schemas.microsoft.com/office/drawing/2014/main" id="{D1A71070-D3BB-997B-FAB3-9CFD358BD867}"/>
              </a:ext>
            </a:extLst>
          </p:cNvPr>
          <p:cNvSpPr/>
          <p:nvPr/>
        </p:nvSpPr>
        <p:spPr>
          <a:xfrm>
            <a:off x="10957116" y="4068242"/>
            <a:ext cx="698587" cy="71455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8" name="Elipse 37">
            <a:extLst>
              <a:ext uri="{FF2B5EF4-FFF2-40B4-BE49-F238E27FC236}">
                <a16:creationId xmlns:a16="http://schemas.microsoft.com/office/drawing/2014/main" id="{A145D306-A2BE-EF3E-0220-7F1E69EA554C}"/>
              </a:ext>
            </a:extLst>
          </p:cNvPr>
          <p:cNvSpPr/>
          <p:nvPr/>
        </p:nvSpPr>
        <p:spPr>
          <a:xfrm>
            <a:off x="10952176" y="5132987"/>
            <a:ext cx="698587" cy="71455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Tree>
    <p:extLst>
      <p:ext uri="{BB962C8B-B14F-4D97-AF65-F5344CB8AC3E}">
        <p14:creationId xmlns:p14="http://schemas.microsoft.com/office/powerpoint/2010/main" val="3532119654"/>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536085" y="106907"/>
            <a:ext cx="15136128"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ES" sz="4031" b="1" dirty="0">
                <a:latin typeface="Verdana" panose="020B0604030504040204" pitchFamily="34" charset="0"/>
                <a:ea typeface="Verdana" panose="020B0604030504040204" pitchFamily="34" charset="0"/>
              </a:rPr>
              <a:t>Cartera de Proyectos</a:t>
            </a:r>
            <a:endParaRPr lang="en-US" sz="4031" b="1" dirty="0">
              <a:latin typeface="Verdana" panose="020B0604030504040204" pitchFamily="34" charset="0"/>
              <a:ea typeface="Verdana" panose="020B0604030504040204" pitchFamily="34" charset="0"/>
            </a:endParaRPr>
          </a:p>
        </p:txBody>
      </p:sp>
      <p:pic>
        <p:nvPicPr>
          <p:cNvPr id="2" name="Imagen 1">
            <a:extLst>
              <a:ext uri="{FF2B5EF4-FFF2-40B4-BE49-F238E27FC236}">
                <a16:creationId xmlns:a16="http://schemas.microsoft.com/office/drawing/2014/main" id="{9A800778-8450-F3C9-7450-EE8D68FF3543}"/>
              </a:ext>
            </a:extLst>
          </p:cNvPr>
          <p:cNvPicPr>
            <a:picLocks noChangeAspect="1"/>
          </p:cNvPicPr>
          <p:nvPr/>
        </p:nvPicPr>
        <p:blipFill rotWithShape="1">
          <a:blip r:embed="rId4"/>
          <a:srcRect b="9414"/>
          <a:stretch/>
        </p:blipFill>
        <p:spPr>
          <a:xfrm>
            <a:off x="1015339" y="2089689"/>
            <a:ext cx="7582486" cy="6139911"/>
          </a:xfrm>
          <a:prstGeom prst="rect">
            <a:avLst/>
          </a:prstGeom>
        </p:spPr>
      </p:pic>
      <p:grpSp>
        <p:nvGrpSpPr>
          <p:cNvPr id="9" name="Grupo 8">
            <a:extLst>
              <a:ext uri="{FF2B5EF4-FFF2-40B4-BE49-F238E27FC236}">
                <a16:creationId xmlns:a16="http://schemas.microsoft.com/office/drawing/2014/main" id="{0C52BB2F-F865-78F8-4F1E-1CE8350F8CC0}"/>
              </a:ext>
            </a:extLst>
          </p:cNvPr>
          <p:cNvGrpSpPr/>
          <p:nvPr/>
        </p:nvGrpSpPr>
        <p:grpSpPr>
          <a:xfrm>
            <a:off x="10155386" y="1104609"/>
            <a:ext cx="4463116" cy="4340229"/>
            <a:chOff x="3028439" y="1226625"/>
            <a:chExt cx="3009691" cy="3017393"/>
          </a:xfrm>
        </p:grpSpPr>
        <p:grpSp>
          <p:nvGrpSpPr>
            <p:cNvPr id="11" name="Google Shape;703;p25">
              <a:extLst>
                <a:ext uri="{FF2B5EF4-FFF2-40B4-BE49-F238E27FC236}">
                  <a16:creationId xmlns:a16="http://schemas.microsoft.com/office/drawing/2014/main" id="{20B4CEB1-44F4-7724-56F3-C1596E1E1A6C}"/>
                </a:ext>
              </a:extLst>
            </p:cNvPr>
            <p:cNvGrpSpPr/>
            <p:nvPr/>
          </p:nvGrpSpPr>
          <p:grpSpPr>
            <a:xfrm>
              <a:off x="3028439" y="1303485"/>
              <a:ext cx="1738484" cy="2144749"/>
              <a:chOff x="3028439" y="1303485"/>
              <a:chExt cx="1738484" cy="2144749"/>
            </a:xfrm>
            <a:solidFill>
              <a:srgbClr val="129DA7"/>
            </a:solidFill>
          </p:grpSpPr>
          <p:sp>
            <p:nvSpPr>
              <p:cNvPr id="40" name="Google Shape;706;p25">
                <a:extLst>
                  <a:ext uri="{FF2B5EF4-FFF2-40B4-BE49-F238E27FC236}">
                    <a16:creationId xmlns:a16="http://schemas.microsoft.com/office/drawing/2014/main" id="{5A542E5F-6908-934D-8FED-A2DFEC2391D6}"/>
                  </a:ext>
                </a:extLst>
              </p:cNvPr>
              <p:cNvSpPr/>
              <p:nvPr/>
            </p:nvSpPr>
            <p:spPr>
              <a:xfrm rot="-191915">
                <a:off x="3060924" y="1303485"/>
                <a:ext cx="1705999" cy="2144749"/>
              </a:xfrm>
              <a:custGeom>
                <a:avLst/>
                <a:gdLst/>
                <a:ahLst/>
                <a:cxnLst/>
                <a:rect l="l" t="t" r="r" b="b"/>
                <a:pathLst>
                  <a:path w="68236" h="85785" extrusionOk="0">
                    <a:moveTo>
                      <a:pt x="59103" y="1"/>
                    </a:moveTo>
                    <a:cubicBezTo>
                      <a:pt x="26433" y="239"/>
                      <a:pt x="1" y="26790"/>
                      <a:pt x="1" y="59532"/>
                    </a:cubicBezTo>
                    <a:cubicBezTo>
                      <a:pt x="1" y="68950"/>
                      <a:pt x="2203" y="77867"/>
                      <a:pt x="6097" y="85785"/>
                    </a:cubicBezTo>
                    <a:lnTo>
                      <a:pt x="15729" y="69926"/>
                    </a:lnTo>
                    <a:lnTo>
                      <a:pt x="35469" y="69402"/>
                    </a:lnTo>
                    <a:cubicBezTo>
                      <a:pt x="34219" y="66354"/>
                      <a:pt x="33517" y="63020"/>
                      <a:pt x="33517" y="59532"/>
                    </a:cubicBezTo>
                    <a:cubicBezTo>
                      <a:pt x="33517" y="45316"/>
                      <a:pt x="44923" y="33767"/>
                      <a:pt x="59091" y="33529"/>
                    </a:cubicBezTo>
                    <a:lnTo>
                      <a:pt x="68235" y="16646"/>
                    </a:lnTo>
                    <a:lnTo>
                      <a:pt x="59103" y="1"/>
                    </a:lnTo>
                    <a:close/>
                  </a:path>
                </a:pathLst>
              </a:custGeom>
              <a:grpFill/>
              <a:ln>
                <a:noFill/>
              </a:ln>
            </p:spPr>
            <p:txBody>
              <a:bodyPr spcFirstLastPara="1" wrap="square" lIns="131635" tIns="131635" rIns="131635" bIns="131635" anchor="ctr" anchorCtr="0">
                <a:noAutofit/>
              </a:bodyPr>
              <a:lstStyle/>
              <a:p>
                <a:pPr>
                  <a:spcBef>
                    <a:spcPts val="0"/>
                  </a:spcBef>
                  <a:spcAft>
                    <a:spcPts val="0"/>
                  </a:spcAft>
                </a:pPr>
                <a:endParaRPr sz="1728">
                  <a:latin typeface="Lato" panose="020F0502020204030203" pitchFamily="34" charset="0"/>
                  <a:ea typeface="Lato" panose="020F0502020204030203" pitchFamily="34" charset="0"/>
                  <a:cs typeface="Lato" panose="020F0502020204030203" pitchFamily="34" charset="0"/>
                </a:endParaRPr>
              </a:p>
            </p:txBody>
          </p:sp>
          <p:sp>
            <p:nvSpPr>
              <p:cNvPr id="41" name="Google Shape;705;p25">
                <a:extLst>
                  <a:ext uri="{FF2B5EF4-FFF2-40B4-BE49-F238E27FC236}">
                    <a16:creationId xmlns:a16="http://schemas.microsoft.com/office/drawing/2014/main" id="{E269F3D6-FFA1-8469-9BEA-57C6C1BE70EE}"/>
                  </a:ext>
                </a:extLst>
              </p:cNvPr>
              <p:cNvSpPr txBox="1"/>
              <p:nvPr/>
            </p:nvSpPr>
            <p:spPr>
              <a:xfrm>
                <a:off x="3028439" y="2137716"/>
                <a:ext cx="952387" cy="716813"/>
              </a:xfrm>
              <a:prstGeom prst="rect">
                <a:avLst/>
              </a:prstGeom>
              <a:noFill/>
              <a:ln>
                <a:noFill/>
              </a:ln>
            </p:spPr>
            <p:txBody>
              <a:bodyPr spcFirstLastPara="1" wrap="square" lIns="131635" tIns="131635" rIns="131635" bIns="131635" anchor="ctr" anchorCtr="0">
                <a:noAutofit/>
              </a:bodyPr>
              <a:lstStyle/>
              <a:p>
                <a:pPr algn="r">
                  <a:spcBef>
                    <a:spcPts val="0"/>
                  </a:spcBef>
                  <a:spcAft>
                    <a:spcPts val="0"/>
                  </a:spcAft>
                </a:pPr>
                <a:r>
                  <a:rPr lang="en" sz="2000" b="1" dirty="0">
                    <a:solidFill>
                      <a:schemeClr val="bg1"/>
                    </a:solidFill>
                    <a:latin typeface="Lato" panose="020F0502020204030203" pitchFamily="34" charset="0"/>
                    <a:ea typeface="Lato" panose="020F0502020204030203" pitchFamily="34" charset="0"/>
                    <a:cs typeface="Lato" panose="020F0502020204030203" pitchFamily="34" charset="0"/>
                    <a:sym typeface="Fira Sans Extra Condensed Medium"/>
                  </a:rPr>
                  <a:t>US$ 54,556 Millones</a:t>
                </a:r>
                <a:endParaRPr sz="2000" b="1" dirty="0">
                  <a:solidFill>
                    <a:schemeClr val="bg1"/>
                  </a:solidFill>
                  <a:latin typeface="Lato" panose="020F0502020204030203" pitchFamily="34" charset="0"/>
                  <a:ea typeface="Lato" panose="020F0502020204030203" pitchFamily="34" charset="0"/>
                  <a:cs typeface="Lato" panose="020F0502020204030203" pitchFamily="34" charset="0"/>
                  <a:sym typeface="Fira Sans Extra Condensed Medium"/>
                </a:endParaRPr>
              </a:p>
            </p:txBody>
          </p:sp>
        </p:grpSp>
        <p:grpSp>
          <p:nvGrpSpPr>
            <p:cNvPr id="12" name="Google Shape;716;p25">
              <a:extLst>
                <a:ext uri="{FF2B5EF4-FFF2-40B4-BE49-F238E27FC236}">
                  <a16:creationId xmlns:a16="http://schemas.microsoft.com/office/drawing/2014/main" id="{1A7714F0-7590-FD42-D521-1F7708417626}"/>
                </a:ext>
              </a:extLst>
            </p:cNvPr>
            <p:cNvGrpSpPr/>
            <p:nvPr/>
          </p:nvGrpSpPr>
          <p:grpSpPr>
            <a:xfrm>
              <a:off x="4629798" y="1226625"/>
              <a:ext cx="1408332" cy="2227229"/>
              <a:chOff x="4629798" y="1226625"/>
              <a:chExt cx="1408332" cy="2227229"/>
            </a:xfrm>
          </p:grpSpPr>
          <p:sp>
            <p:nvSpPr>
              <p:cNvPr id="34" name="Google Shape;719;p25">
                <a:extLst>
                  <a:ext uri="{FF2B5EF4-FFF2-40B4-BE49-F238E27FC236}">
                    <a16:creationId xmlns:a16="http://schemas.microsoft.com/office/drawing/2014/main" id="{B697B6FC-A4A1-74A0-33D9-BD7712410E0F}"/>
                  </a:ext>
                </a:extLst>
              </p:cNvPr>
              <p:cNvSpPr/>
              <p:nvPr/>
            </p:nvSpPr>
            <p:spPr>
              <a:xfrm rot="-191915">
                <a:off x="4629798" y="1226625"/>
                <a:ext cx="1408332" cy="2227229"/>
              </a:xfrm>
              <a:custGeom>
                <a:avLst/>
                <a:gdLst/>
                <a:ahLst/>
                <a:cxnLst/>
                <a:rect l="l" t="t" r="r" b="b"/>
                <a:pathLst>
                  <a:path w="56330" h="89084" extrusionOk="0">
                    <a:moveTo>
                      <a:pt x="179" y="1"/>
                    </a:moveTo>
                    <a:lnTo>
                      <a:pt x="9264" y="16539"/>
                    </a:lnTo>
                    <a:lnTo>
                      <a:pt x="1" y="33624"/>
                    </a:lnTo>
                    <a:cubicBezTo>
                      <a:pt x="12859" y="35196"/>
                      <a:pt x="22813" y="46149"/>
                      <a:pt x="22813" y="59437"/>
                    </a:cubicBezTo>
                    <a:cubicBezTo>
                      <a:pt x="22813" y="64223"/>
                      <a:pt x="21515" y="68700"/>
                      <a:pt x="19265" y="72557"/>
                    </a:cubicBezTo>
                    <a:lnTo>
                      <a:pt x="29147" y="88667"/>
                    </a:lnTo>
                    <a:lnTo>
                      <a:pt x="48435" y="89083"/>
                    </a:lnTo>
                    <a:cubicBezTo>
                      <a:pt x="53460" y="80356"/>
                      <a:pt x="56329" y="70236"/>
                      <a:pt x="56329" y="59437"/>
                    </a:cubicBezTo>
                    <a:cubicBezTo>
                      <a:pt x="56329" y="27695"/>
                      <a:pt x="31481" y="1763"/>
                      <a:pt x="179" y="1"/>
                    </a:cubicBezTo>
                    <a:close/>
                  </a:path>
                </a:pathLst>
              </a:custGeom>
              <a:solidFill>
                <a:srgbClr val="16927A"/>
              </a:solidFill>
              <a:ln>
                <a:noFill/>
              </a:ln>
            </p:spPr>
            <p:txBody>
              <a:bodyPr spcFirstLastPara="1" wrap="square" lIns="131635" tIns="131635" rIns="131635" bIns="131635" anchor="ctr" anchorCtr="0">
                <a:noAutofit/>
              </a:bodyPr>
              <a:lstStyle/>
              <a:p>
                <a:pPr>
                  <a:spcBef>
                    <a:spcPts val="0"/>
                  </a:spcBef>
                  <a:spcAft>
                    <a:spcPts val="0"/>
                  </a:spcAft>
                </a:pPr>
                <a:endParaRPr sz="1728">
                  <a:latin typeface="Lato" panose="020F0502020204030203" pitchFamily="34" charset="0"/>
                  <a:ea typeface="Lato" panose="020F0502020204030203" pitchFamily="34" charset="0"/>
                  <a:cs typeface="Lato" panose="020F0502020204030203" pitchFamily="34" charset="0"/>
                </a:endParaRPr>
              </a:p>
            </p:txBody>
          </p:sp>
          <p:sp>
            <p:nvSpPr>
              <p:cNvPr id="39" name="Google Shape;718;p25">
                <a:extLst>
                  <a:ext uri="{FF2B5EF4-FFF2-40B4-BE49-F238E27FC236}">
                    <a16:creationId xmlns:a16="http://schemas.microsoft.com/office/drawing/2014/main" id="{E4C9192D-8834-4805-B992-021DDB7C75D4}"/>
                  </a:ext>
                </a:extLst>
              </p:cNvPr>
              <p:cNvSpPr txBox="1"/>
              <p:nvPr/>
            </p:nvSpPr>
            <p:spPr>
              <a:xfrm>
                <a:off x="4797318" y="1718247"/>
                <a:ext cx="936910" cy="429599"/>
              </a:xfrm>
              <a:prstGeom prst="rect">
                <a:avLst/>
              </a:prstGeom>
              <a:noFill/>
              <a:ln>
                <a:noFill/>
              </a:ln>
            </p:spPr>
            <p:txBody>
              <a:bodyPr spcFirstLastPara="1" wrap="square" lIns="131635" tIns="131635" rIns="131635" bIns="131635" anchor="ctr" anchorCtr="0">
                <a:noAutofit/>
              </a:bodyPr>
              <a:lstStyle/>
              <a:p>
                <a:pPr algn="ctr">
                  <a:spcBef>
                    <a:spcPts val="0"/>
                  </a:spcBef>
                  <a:spcAft>
                    <a:spcPts val="0"/>
                  </a:spcAft>
                </a:pPr>
                <a:r>
                  <a:rPr lang="en" sz="1296" dirty="0">
                    <a:solidFill>
                      <a:schemeClr val="bg1"/>
                    </a:solidFill>
                    <a:latin typeface="Lato" panose="020F0502020204030203" pitchFamily="34" charset="0"/>
                    <a:ea typeface="Lato" panose="020F0502020204030203" pitchFamily="34" charset="0"/>
                    <a:cs typeface="Lato" panose="020F0502020204030203" pitchFamily="34" charset="0"/>
                    <a:sym typeface="Fira Sans Extra Condensed Medium"/>
                  </a:rPr>
                  <a:t>51 proyectos</a:t>
                </a:r>
                <a:endParaRPr sz="1296" dirty="0">
                  <a:solidFill>
                    <a:schemeClr val="bg1"/>
                  </a:solidFill>
                  <a:latin typeface="Lato" panose="020F0502020204030203" pitchFamily="34" charset="0"/>
                  <a:ea typeface="Lato" panose="020F0502020204030203" pitchFamily="34" charset="0"/>
                  <a:cs typeface="Lato" panose="020F0502020204030203" pitchFamily="34" charset="0"/>
                  <a:sym typeface="Fira Sans Extra Condensed Medium"/>
                </a:endParaRPr>
              </a:p>
            </p:txBody>
          </p:sp>
        </p:grpSp>
        <p:grpSp>
          <p:nvGrpSpPr>
            <p:cNvPr id="28" name="Google Shape;724;p25">
              <a:extLst>
                <a:ext uri="{FF2B5EF4-FFF2-40B4-BE49-F238E27FC236}">
                  <a16:creationId xmlns:a16="http://schemas.microsoft.com/office/drawing/2014/main" id="{5AA26CB8-7CE8-CFC4-A554-FCACDCF67D4A}"/>
                </a:ext>
              </a:extLst>
            </p:cNvPr>
            <p:cNvGrpSpPr/>
            <p:nvPr/>
          </p:nvGrpSpPr>
          <p:grpSpPr>
            <a:xfrm>
              <a:off x="3331449" y="3083976"/>
              <a:ext cx="2531447" cy="1160042"/>
              <a:chOff x="3331449" y="3083976"/>
              <a:chExt cx="2531447" cy="1160042"/>
            </a:xfrm>
          </p:grpSpPr>
          <p:sp>
            <p:nvSpPr>
              <p:cNvPr id="32" name="Google Shape;726;p25">
                <a:extLst>
                  <a:ext uri="{FF2B5EF4-FFF2-40B4-BE49-F238E27FC236}">
                    <a16:creationId xmlns:a16="http://schemas.microsoft.com/office/drawing/2014/main" id="{DC7F39FF-7186-47AE-3E3A-EF6CF17CDA62}"/>
                  </a:ext>
                </a:extLst>
              </p:cNvPr>
              <p:cNvSpPr/>
              <p:nvPr/>
            </p:nvSpPr>
            <p:spPr>
              <a:xfrm rot="-191915">
                <a:off x="3331449" y="3083976"/>
                <a:ext cx="2531447" cy="1160042"/>
              </a:xfrm>
              <a:custGeom>
                <a:avLst/>
                <a:gdLst/>
                <a:ahLst/>
                <a:cxnLst/>
                <a:rect l="l" t="t" r="r" b="b"/>
                <a:pathLst>
                  <a:path w="101252" h="46399" extrusionOk="0">
                    <a:moveTo>
                      <a:pt x="29183" y="0"/>
                    </a:moveTo>
                    <a:lnTo>
                      <a:pt x="9704" y="524"/>
                    </a:lnTo>
                    <a:lnTo>
                      <a:pt x="0" y="16514"/>
                    </a:lnTo>
                    <a:cubicBezTo>
                      <a:pt x="10276" y="34374"/>
                      <a:pt x="29552" y="46399"/>
                      <a:pt x="51638" y="46399"/>
                    </a:cubicBezTo>
                    <a:cubicBezTo>
                      <a:pt x="72343" y="46399"/>
                      <a:pt x="90583" y="35826"/>
                      <a:pt x="101251" y="19777"/>
                    </a:cubicBezTo>
                    <a:lnTo>
                      <a:pt x="82106" y="19360"/>
                    </a:lnTo>
                    <a:lnTo>
                      <a:pt x="72057" y="2977"/>
                    </a:lnTo>
                    <a:cubicBezTo>
                      <a:pt x="67295" y="9013"/>
                      <a:pt x="59913" y="12883"/>
                      <a:pt x="51638" y="12883"/>
                    </a:cubicBezTo>
                    <a:cubicBezTo>
                      <a:pt x="42053" y="12883"/>
                      <a:pt x="33695" y="7704"/>
                      <a:pt x="29183" y="0"/>
                    </a:cubicBezTo>
                    <a:close/>
                  </a:path>
                </a:pathLst>
              </a:custGeom>
              <a:solidFill>
                <a:srgbClr val="116E9E"/>
              </a:solidFill>
              <a:ln>
                <a:noFill/>
              </a:ln>
            </p:spPr>
            <p:txBody>
              <a:bodyPr spcFirstLastPara="1" wrap="square" lIns="131635" tIns="131635" rIns="131635" bIns="131635" anchor="ctr" anchorCtr="0">
                <a:noAutofit/>
              </a:bodyPr>
              <a:lstStyle/>
              <a:p>
                <a:pPr>
                  <a:spcBef>
                    <a:spcPts val="0"/>
                  </a:spcBef>
                  <a:spcAft>
                    <a:spcPts val="0"/>
                  </a:spcAft>
                </a:pPr>
                <a:endParaRPr sz="1728">
                  <a:latin typeface="Lato" panose="020F0502020204030203" pitchFamily="34" charset="0"/>
                  <a:ea typeface="Lato" panose="020F0502020204030203" pitchFamily="34" charset="0"/>
                  <a:cs typeface="Lato" panose="020F0502020204030203" pitchFamily="34" charset="0"/>
                </a:endParaRPr>
              </a:p>
            </p:txBody>
          </p:sp>
          <p:sp>
            <p:nvSpPr>
              <p:cNvPr id="33" name="Google Shape;727;p25">
                <a:extLst>
                  <a:ext uri="{FF2B5EF4-FFF2-40B4-BE49-F238E27FC236}">
                    <a16:creationId xmlns:a16="http://schemas.microsoft.com/office/drawing/2014/main" id="{6BAFC87E-2B77-BFB6-6579-55C8EDCAC421}"/>
                  </a:ext>
                </a:extLst>
              </p:cNvPr>
              <p:cNvSpPr txBox="1"/>
              <p:nvPr/>
            </p:nvSpPr>
            <p:spPr>
              <a:xfrm>
                <a:off x="4112046" y="3548538"/>
                <a:ext cx="1171523" cy="429600"/>
              </a:xfrm>
              <a:prstGeom prst="rect">
                <a:avLst/>
              </a:prstGeom>
              <a:noFill/>
              <a:ln>
                <a:noFill/>
              </a:ln>
            </p:spPr>
            <p:txBody>
              <a:bodyPr spcFirstLastPara="1" wrap="square" lIns="131635" tIns="131635" rIns="131635" bIns="131635" anchor="ctr" anchorCtr="0">
                <a:noAutofit/>
              </a:bodyPr>
              <a:lstStyle/>
              <a:p>
                <a:pPr algn="r">
                  <a:spcBef>
                    <a:spcPts val="0"/>
                  </a:spcBef>
                  <a:spcAft>
                    <a:spcPts val="0"/>
                  </a:spcAft>
                </a:pPr>
                <a:r>
                  <a:rPr lang="en" sz="1296" dirty="0">
                    <a:solidFill>
                      <a:schemeClr val="bg1"/>
                    </a:solidFill>
                    <a:latin typeface="Lato" panose="020F0502020204030203" pitchFamily="34" charset="0"/>
                    <a:ea typeface="Lato" panose="020F0502020204030203" pitchFamily="34" charset="0"/>
                    <a:cs typeface="Lato" panose="020F0502020204030203" pitchFamily="34" charset="0"/>
                    <a:sym typeface="Fira Sans Extra Condensed Medium"/>
                  </a:rPr>
                  <a:t>Ubicados en 18 regiones</a:t>
                </a:r>
                <a:endParaRPr sz="1296" dirty="0">
                  <a:solidFill>
                    <a:schemeClr val="bg1"/>
                  </a:solidFill>
                  <a:latin typeface="Lato" panose="020F0502020204030203" pitchFamily="34" charset="0"/>
                  <a:ea typeface="Lato" panose="020F0502020204030203" pitchFamily="34" charset="0"/>
                  <a:cs typeface="Lato" panose="020F0502020204030203" pitchFamily="34" charset="0"/>
                  <a:sym typeface="Fira Sans Extra Condensed Medium"/>
                </a:endParaRPr>
              </a:p>
            </p:txBody>
          </p:sp>
        </p:grpSp>
        <p:pic>
          <p:nvPicPr>
            <p:cNvPr id="29" name="Gráfico 28" descr="Truck con relleno sólido">
              <a:extLst>
                <a:ext uri="{FF2B5EF4-FFF2-40B4-BE49-F238E27FC236}">
                  <a16:creationId xmlns:a16="http://schemas.microsoft.com/office/drawing/2014/main" id="{FC142659-F41C-D8A4-8D7C-0CE9CCD7D2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12691" y="2288441"/>
              <a:ext cx="640205" cy="640205"/>
            </a:xfrm>
            <a:prstGeom prst="rect">
              <a:avLst/>
            </a:prstGeom>
          </p:spPr>
        </p:pic>
        <p:pic>
          <p:nvPicPr>
            <p:cNvPr id="30" name="Gráfico 29" descr="Marker con relleno sólido">
              <a:extLst>
                <a:ext uri="{FF2B5EF4-FFF2-40B4-BE49-F238E27FC236}">
                  <a16:creationId xmlns:a16="http://schemas.microsoft.com/office/drawing/2014/main" id="{73846298-8930-E9CB-91A7-E48D516842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94321" y="3449285"/>
              <a:ext cx="555357" cy="555357"/>
            </a:xfrm>
            <a:prstGeom prst="rect">
              <a:avLst/>
            </a:prstGeom>
          </p:spPr>
        </p:pic>
        <p:pic>
          <p:nvPicPr>
            <p:cNvPr id="31" name="Gráfico 30" descr="Money contorno">
              <a:extLst>
                <a:ext uri="{FF2B5EF4-FFF2-40B4-BE49-F238E27FC236}">
                  <a16:creationId xmlns:a16="http://schemas.microsoft.com/office/drawing/2014/main" id="{5ADD27D5-E53A-6804-42FE-04A62408686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54369" y="1577137"/>
              <a:ext cx="616010" cy="616010"/>
            </a:xfrm>
            <a:prstGeom prst="rect">
              <a:avLst/>
            </a:prstGeom>
          </p:spPr>
        </p:pic>
      </p:grpSp>
      <p:pic>
        <p:nvPicPr>
          <p:cNvPr id="42" name="Imagen 41">
            <a:extLst>
              <a:ext uri="{FF2B5EF4-FFF2-40B4-BE49-F238E27FC236}">
                <a16:creationId xmlns:a16="http://schemas.microsoft.com/office/drawing/2014/main" id="{22FF6C30-4B0B-279F-69AD-0D46A5952826}"/>
              </a:ext>
            </a:extLst>
          </p:cNvPr>
          <p:cNvPicPr>
            <a:picLocks noChangeAspect="1"/>
          </p:cNvPicPr>
          <p:nvPr/>
        </p:nvPicPr>
        <p:blipFill>
          <a:blip r:embed="rId11"/>
          <a:stretch>
            <a:fillRect/>
          </a:stretch>
        </p:blipFill>
        <p:spPr>
          <a:xfrm>
            <a:off x="10238988" y="5845868"/>
            <a:ext cx="5012516" cy="2512047"/>
          </a:xfrm>
          <a:prstGeom prst="rect">
            <a:avLst/>
          </a:prstGeom>
        </p:spPr>
      </p:pic>
      <p:sp>
        <p:nvSpPr>
          <p:cNvPr id="43" name="Rectángulo 42">
            <a:extLst>
              <a:ext uri="{FF2B5EF4-FFF2-40B4-BE49-F238E27FC236}">
                <a16:creationId xmlns:a16="http://schemas.microsoft.com/office/drawing/2014/main" id="{A47444E0-B829-4C59-49CB-964C42021F99}"/>
              </a:ext>
            </a:extLst>
          </p:cNvPr>
          <p:cNvSpPr/>
          <p:nvPr/>
        </p:nvSpPr>
        <p:spPr>
          <a:xfrm>
            <a:off x="12767881" y="8739874"/>
            <a:ext cx="4332272" cy="5183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PE" sz="1296" i="1" dirty="0">
                <a:solidFill>
                  <a:schemeClr val="tx1"/>
                </a:solidFill>
                <a:latin typeface="Lato" panose="020F0502020204030203" pitchFamily="34" charset="0"/>
                <a:ea typeface="Lato" panose="020F0502020204030203" pitchFamily="34" charset="0"/>
                <a:cs typeface="Lato" panose="020F0502020204030203" pitchFamily="34" charset="0"/>
              </a:rPr>
              <a:t>*Cartera de Proyectos Actualizado a marzo 2024</a:t>
            </a:r>
          </a:p>
          <a:p>
            <a:r>
              <a:rPr lang="es-PE" sz="1296" dirty="0">
                <a:solidFill>
                  <a:schemeClr val="tx1"/>
                </a:solidFill>
                <a:latin typeface="Lato" panose="020F0502020204030203" pitchFamily="34" charset="0"/>
                <a:ea typeface="Lato" panose="020F0502020204030203" pitchFamily="34" charset="0"/>
                <a:cs typeface="Lato" panose="020F0502020204030203" pitchFamily="34" charset="0"/>
              </a:rPr>
              <a:t> Fuente: MINEM</a:t>
            </a:r>
          </a:p>
        </p:txBody>
      </p:sp>
    </p:spTree>
    <p:extLst>
      <p:ext uri="{BB962C8B-B14F-4D97-AF65-F5344CB8AC3E}">
        <p14:creationId xmlns:p14="http://schemas.microsoft.com/office/powerpoint/2010/main" val="1246312760"/>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n 20" descr="Un puente de noche&#10;&#10;Descripción generada automáticamente con confianza media">
            <a:extLst>
              <a:ext uri="{FF2B5EF4-FFF2-40B4-BE49-F238E27FC236}">
                <a16:creationId xmlns:a16="http://schemas.microsoft.com/office/drawing/2014/main" id="{1FC83C79-4722-42E2-B881-E1CE702AFECB}"/>
              </a:ext>
            </a:extLst>
          </p:cNvPr>
          <p:cNvPicPr>
            <a:picLocks noChangeAspect="1"/>
          </p:cNvPicPr>
          <p:nvPr/>
        </p:nvPicPr>
        <p:blipFill rotWithShape="1">
          <a:blip r:embed="rId4">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24" name="Rectángulo 23">
            <a:extLst>
              <a:ext uri="{FF2B5EF4-FFF2-40B4-BE49-F238E27FC236}">
                <a16:creationId xmlns:a16="http://schemas.microsoft.com/office/drawing/2014/main" id="{9F0F8CD7-0489-46EE-96AD-BEFC166025A9}"/>
              </a:ext>
            </a:extLst>
          </p:cNvPr>
          <p:cNvSpPr/>
          <p:nvPr/>
        </p:nvSpPr>
        <p:spPr>
          <a:xfrm>
            <a:off x="346197" y="283745"/>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28" name="Rectángulo 27">
            <a:extLst>
              <a:ext uri="{FF2B5EF4-FFF2-40B4-BE49-F238E27FC236}">
                <a16:creationId xmlns:a16="http://schemas.microsoft.com/office/drawing/2014/main" id="{AF78FD53-330E-469A-80EB-0DA21D8E41EE}"/>
              </a:ext>
            </a:extLst>
          </p:cNvPr>
          <p:cNvSpPr/>
          <p:nvPr/>
        </p:nvSpPr>
        <p:spPr>
          <a:xfrm>
            <a:off x="251252" y="497986"/>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22" name="Imagen 21" descr="Icono&#10;&#10;Descripción generada automáticamente">
            <a:extLst>
              <a:ext uri="{FF2B5EF4-FFF2-40B4-BE49-F238E27FC236}">
                <a16:creationId xmlns:a16="http://schemas.microsoft.com/office/drawing/2014/main" id="{5A2A3051-37A1-40B2-A4D2-C3F02ECB778A}"/>
              </a:ext>
            </a:extLst>
          </p:cNvPr>
          <p:cNvPicPr>
            <a:picLocks noChangeAspect="1"/>
          </p:cNvPicPr>
          <p:nvPr/>
        </p:nvPicPr>
        <p:blipFill rotWithShape="1">
          <a:blip r:embed="rId5">
            <a:extLst>
              <a:ext uri="{28A0092B-C50C-407E-A947-70E740481C1C}">
                <a14:useLocalDpi xmlns:a14="http://schemas.microsoft.com/office/drawing/2010/main" val="0"/>
              </a:ext>
            </a:extLst>
          </a:blip>
          <a:srcRect t="24851" r="19372"/>
          <a:stretch/>
        </p:blipFill>
        <p:spPr>
          <a:xfrm>
            <a:off x="12858817" y="-89272"/>
            <a:ext cx="4684710" cy="4268620"/>
          </a:xfrm>
          <a:prstGeom prst="rect">
            <a:avLst/>
          </a:prstGeom>
        </p:spPr>
      </p:pic>
      <p:pic>
        <p:nvPicPr>
          <p:cNvPr id="18" name="Imagen 17">
            <a:extLst>
              <a:ext uri="{FF2B5EF4-FFF2-40B4-BE49-F238E27FC236}">
                <a16:creationId xmlns:a16="http://schemas.microsoft.com/office/drawing/2014/main" id="{AE9F1260-722A-4153-A479-E2EDF903866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6846" y="1996057"/>
            <a:ext cx="8434440" cy="1271141"/>
          </a:xfrm>
          <a:prstGeom prst="rect">
            <a:avLst/>
          </a:prstGeom>
        </p:spPr>
      </p:pic>
      <p:pic>
        <p:nvPicPr>
          <p:cNvPr id="20" name="Imagen 19">
            <a:extLst>
              <a:ext uri="{FF2B5EF4-FFF2-40B4-BE49-F238E27FC236}">
                <a16:creationId xmlns:a16="http://schemas.microsoft.com/office/drawing/2014/main" id="{38F5A9FA-C29B-40D0-A750-C39EFECF02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79606" y="1994820"/>
            <a:ext cx="8118409" cy="1288074"/>
          </a:xfrm>
          <a:prstGeom prst="rect">
            <a:avLst/>
          </a:prstGeom>
        </p:spPr>
      </p:pic>
      <p:graphicFrame>
        <p:nvGraphicFramePr>
          <p:cNvPr id="4" name="Objeto 3" hidden="1">
            <a:extLst>
              <a:ext uri="{FF2B5EF4-FFF2-40B4-BE49-F238E27FC236}">
                <a16:creationId xmlns:a16="http://schemas.microsoft.com/office/drawing/2014/main" id="{A84EE1AC-F3CF-452C-B13C-3BA06366B4EF}"/>
              </a:ext>
            </a:extLst>
          </p:cNvPr>
          <p:cNvGraphicFramePr>
            <a:graphicFrameLocks noChangeAspect="1"/>
          </p:cNvGraphicFramePr>
          <p:nvPr>
            <p:custDataLst>
              <p:tags r:id="rId1"/>
            </p:custDataLst>
          </p:nvPr>
        </p:nvGraphicFramePr>
        <p:xfrm>
          <a:off x="4051" y="2287"/>
          <a:ext cx="2286" cy="2286"/>
        </p:xfrm>
        <a:graphic>
          <a:graphicData uri="http://schemas.openxmlformats.org/presentationml/2006/ole">
            <mc:AlternateContent xmlns:mc="http://schemas.openxmlformats.org/markup-compatibility/2006">
              <mc:Choice xmlns:v="urn:schemas-microsoft-com:vml" Requires="v">
                <p:oleObj name="Diapositiva de think-cell" r:id="rId7" imgW="471" imgH="472" progId="TCLayout.ActiveDocument.1">
                  <p:embed/>
                </p:oleObj>
              </mc:Choice>
              <mc:Fallback>
                <p:oleObj name="Diapositiva de think-cell" r:id="rId7" imgW="471" imgH="472" progId="TCLayout.ActiveDocument.1">
                  <p:embed/>
                  <p:pic>
                    <p:nvPicPr>
                      <p:cNvPr id="4" name="Objeto 3" hidden="1">
                        <a:extLst>
                          <a:ext uri="{FF2B5EF4-FFF2-40B4-BE49-F238E27FC236}">
                            <a16:creationId xmlns:a16="http://schemas.microsoft.com/office/drawing/2014/main" id="{A84EE1AC-F3CF-452C-B13C-3BA06366B4EF}"/>
                          </a:ext>
                        </a:extLst>
                      </p:cNvPr>
                      <p:cNvPicPr/>
                      <p:nvPr/>
                    </p:nvPicPr>
                    <p:blipFill>
                      <a:blip r:embed="rId8"/>
                      <a:stretch>
                        <a:fillRect/>
                      </a:stretch>
                    </p:blipFill>
                    <p:spPr>
                      <a:xfrm>
                        <a:off x="4051" y="2287"/>
                        <a:ext cx="2286" cy="2286"/>
                      </a:xfrm>
                      <a:prstGeom prst="rect">
                        <a:avLst/>
                      </a:prstGeom>
                    </p:spPr>
                  </p:pic>
                </p:oleObj>
              </mc:Fallback>
            </mc:AlternateContent>
          </a:graphicData>
        </a:graphic>
      </p:graphicFrame>
      <p:sp>
        <p:nvSpPr>
          <p:cNvPr id="60" name="3 CuadroTexto">
            <a:extLst>
              <a:ext uri="{FF2B5EF4-FFF2-40B4-BE49-F238E27FC236}">
                <a16:creationId xmlns:a16="http://schemas.microsoft.com/office/drawing/2014/main" id="{09C81C62-0FEF-4D44-8BA2-05D8369A805E}"/>
              </a:ext>
            </a:extLst>
          </p:cNvPr>
          <p:cNvSpPr txBox="1"/>
          <p:nvPr/>
        </p:nvSpPr>
        <p:spPr>
          <a:xfrm>
            <a:off x="900555" y="8556930"/>
            <a:ext cx="9742254" cy="411427"/>
          </a:xfrm>
          <a:prstGeom prst="rect">
            <a:avLst/>
          </a:prstGeom>
          <a:noFill/>
        </p:spPr>
        <p:txBody>
          <a:bodyPr wrap="square" lIns="103667" tIns="51833" rIns="103667" bIns="51833" rtlCol="0">
            <a:noAutofit/>
          </a:bodyPr>
          <a:lstStyle/>
          <a:p>
            <a:pPr defTabSz="1316553">
              <a:spcBef>
                <a:spcPts val="432"/>
              </a:spcBef>
              <a:spcAft>
                <a:spcPts val="0"/>
              </a:spcAft>
              <a:buClr>
                <a:srgbClr val="1F5A92"/>
              </a:buClr>
              <a:defRPr/>
            </a:pPr>
            <a:r>
              <a:rPr lang="es-ES" sz="1296" dirty="0">
                <a:solidFill>
                  <a:srgbClr val="3D3935"/>
                </a:solidFill>
                <a:latin typeface="Verdana" panose="020B0604030504040204" pitchFamily="34" charset="0"/>
                <a:ea typeface="Verdana" panose="020B0604030504040204" pitchFamily="34" charset="0"/>
              </a:rPr>
              <a:t>1/ Incluye proyectos probables y posibles de acuerdo a la definición de Wood Mackenzie </a:t>
            </a:r>
          </a:p>
          <a:p>
            <a:pPr defTabSz="1316553">
              <a:spcBef>
                <a:spcPts val="432"/>
              </a:spcBef>
              <a:spcAft>
                <a:spcPts val="0"/>
              </a:spcAft>
              <a:buClr>
                <a:srgbClr val="1F5A92"/>
              </a:buClr>
              <a:defRPr/>
            </a:pPr>
            <a:r>
              <a:rPr lang="es-ES" sz="1296" dirty="0">
                <a:solidFill>
                  <a:srgbClr val="3D3935"/>
                </a:solidFill>
                <a:latin typeface="Verdana" panose="020B0604030504040204" pitchFamily="34" charset="0"/>
                <a:ea typeface="Verdana" panose="020B0604030504040204" pitchFamily="34" charset="0"/>
              </a:rPr>
              <a:t>Fuente: Wood Mackenzie (2021)</a:t>
            </a:r>
          </a:p>
        </p:txBody>
      </p:sp>
      <p:sp>
        <p:nvSpPr>
          <p:cNvPr id="62" name="Título 19">
            <a:extLst>
              <a:ext uri="{FF2B5EF4-FFF2-40B4-BE49-F238E27FC236}">
                <a16:creationId xmlns:a16="http://schemas.microsoft.com/office/drawing/2014/main" id="{5900CF76-260B-42D2-BF9D-1F217167DBDB}"/>
              </a:ext>
            </a:extLst>
          </p:cNvPr>
          <p:cNvSpPr txBox="1">
            <a:spLocks/>
          </p:cNvSpPr>
          <p:nvPr/>
        </p:nvSpPr>
        <p:spPr>
          <a:xfrm>
            <a:off x="9618877" y="2040400"/>
            <a:ext cx="6425238" cy="974071"/>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buClr>
                <a:schemeClr val="accent5">
                  <a:lumMod val="75000"/>
                </a:schemeClr>
              </a:buClr>
            </a:pPr>
            <a:r>
              <a:rPr lang="es-ES" sz="2376" b="1" dirty="0">
                <a:latin typeface="Verdana" panose="020B0604030504040204" pitchFamily="34" charset="0"/>
                <a:ea typeface="Verdana" panose="020B0604030504040204" pitchFamily="34" charset="0"/>
              </a:rPr>
              <a:t>Sin nuevas inversiones, la producción de cobre caería 48% </a:t>
            </a:r>
            <a:r>
              <a:rPr lang="es-ES" sz="2376" dirty="0">
                <a:latin typeface="Verdana" panose="020B0604030504040204" pitchFamily="34" charset="0"/>
                <a:ea typeface="Verdana" panose="020B0604030504040204" pitchFamily="34" charset="0"/>
              </a:rPr>
              <a:t>al 2040 respecto de los niveles actuales</a:t>
            </a:r>
            <a:endParaRPr lang="es-PE" sz="2376" dirty="0">
              <a:highlight>
                <a:srgbClr val="FFFFFF"/>
              </a:highlight>
              <a:latin typeface="Verdana" panose="020B0604030504040204" pitchFamily="34" charset="0"/>
              <a:ea typeface="Verdana" panose="020B0604030504040204" pitchFamily="34" charset="0"/>
            </a:endParaRPr>
          </a:p>
        </p:txBody>
      </p:sp>
      <p:sp>
        <p:nvSpPr>
          <p:cNvPr id="65" name="Título 19">
            <a:extLst>
              <a:ext uri="{FF2B5EF4-FFF2-40B4-BE49-F238E27FC236}">
                <a16:creationId xmlns:a16="http://schemas.microsoft.com/office/drawing/2014/main" id="{62FFF32F-C3E3-4981-BC7D-F1CBB5075D30}"/>
              </a:ext>
            </a:extLst>
          </p:cNvPr>
          <p:cNvSpPr txBox="1">
            <a:spLocks/>
          </p:cNvSpPr>
          <p:nvPr/>
        </p:nvSpPr>
        <p:spPr>
          <a:xfrm>
            <a:off x="1647311" y="1994950"/>
            <a:ext cx="6656558" cy="974071"/>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buClr>
                <a:schemeClr val="accent5">
                  <a:lumMod val="75000"/>
                </a:schemeClr>
              </a:buClr>
            </a:pPr>
            <a:r>
              <a:rPr lang="es-PE" sz="2376" dirty="0">
                <a:latin typeface="Verdana" panose="020B0604030504040204" pitchFamily="34" charset="0"/>
                <a:ea typeface="Verdana" panose="020B0604030504040204" pitchFamily="34" charset="0"/>
              </a:rPr>
              <a:t>En </a:t>
            </a:r>
            <a:r>
              <a:rPr lang="es-PE" sz="2376" b="1" dirty="0">
                <a:latin typeface="Verdana" panose="020B0604030504040204" pitchFamily="34" charset="0"/>
                <a:ea typeface="Verdana" panose="020B0604030504040204" pitchFamily="34" charset="0"/>
              </a:rPr>
              <a:t>el mundo hay más de 180 proyectos </a:t>
            </a:r>
            <a:r>
              <a:rPr lang="es-PE" sz="2376" dirty="0">
                <a:latin typeface="Verdana" panose="020B0604030504040204" pitchFamily="34" charset="0"/>
                <a:ea typeface="Verdana" panose="020B0604030504040204" pitchFamily="34" charset="0"/>
              </a:rPr>
              <a:t>que podrían desarrollarse en lugar de los proyectos peruanos</a:t>
            </a:r>
            <a:endParaRPr lang="es-PE" sz="2376" dirty="0">
              <a:highlight>
                <a:srgbClr val="FFFFFF"/>
              </a:highlight>
              <a:latin typeface="Verdana" panose="020B0604030504040204" pitchFamily="34" charset="0"/>
              <a:ea typeface="Verdana" panose="020B0604030504040204" pitchFamily="34" charset="0"/>
            </a:endParaRPr>
          </a:p>
        </p:txBody>
      </p:sp>
      <p:pic>
        <p:nvPicPr>
          <p:cNvPr id="2" name="Imagen 1">
            <a:extLst>
              <a:ext uri="{FF2B5EF4-FFF2-40B4-BE49-F238E27FC236}">
                <a16:creationId xmlns:a16="http://schemas.microsoft.com/office/drawing/2014/main" id="{A945E26B-FFDE-42D9-BAD7-A9961C8A234A}"/>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737964" y="4102983"/>
            <a:ext cx="7902925" cy="4376879"/>
          </a:xfrm>
          <a:prstGeom prst="rect">
            <a:avLst/>
          </a:prstGeom>
        </p:spPr>
      </p:pic>
      <p:sp>
        <p:nvSpPr>
          <p:cNvPr id="25" name="Marcador de texto 3">
            <a:extLst>
              <a:ext uri="{FF2B5EF4-FFF2-40B4-BE49-F238E27FC236}">
                <a16:creationId xmlns:a16="http://schemas.microsoft.com/office/drawing/2014/main" id="{34DEDF93-EFE9-4DA9-A68B-171203FCAF69}"/>
              </a:ext>
            </a:extLst>
          </p:cNvPr>
          <p:cNvSpPr txBox="1">
            <a:spLocks/>
          </p:cNvSpPr>
          <p:nvPr/>
        </p:nvSpPr>
        <p:spPr>
          <a:xfrm>
            <a:off x="900555" y="3671977"/>
            <a:ext cx="7974360" cy="41142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es-ES" sz="1728" b="1" dirty="0">
                <a:latin typeface="Verdana" panose="020B0604030504040204" pitchFamily="34" charset="0"/>
                <a:ea typeface="Verdana" panose="020B0604030504040204" pitchFamily="34" charset="0"/>
              </a:rPr>
              <a:t>Potenciales proyectos de cobre por región</a:t>
            </a:r>
            <a:r>
              <a:rPr lang="es-ES" sz="1728" b="1" baseline="30000" dirty="0">
                <a:latin typeface="Verdana" panose="020B0604030504040204" pitchFamily="34" charset="0"/>
                <a:ea typeface="Verdana" panose="020B0604030504040204" pitchFamily="34" charset="0"/>
              </a:rPr>
              <a:t>1/</a:t>
            </a:r>
            <a:endParaRPr lang="es-ES" sz="1728" b="1" dirty="0">
              <a:latin typeface="Verdana" panose="020B0604030504040204" pitchFamily="34" charset="0"/>
              <a:ea typeface="Verdana" panose="020B0604030504040204" pitchFamily="34" charset="0"/>
            </a:endParaRPr>
          </a:p>
          <a:p>
            <a:pPr marL="0" indent="0" algn="ctr">
              <a:lnSpc>
                <a:spcPct val="100000"/>
              </a:lnSpc>
              <a:spcBef>
                <a:spcPts val="0"/>
              </a:spcBef>
              <a:buNone/>
            </a:pPr>
            <a:r>
              <a:rPr lang="es-ES" sz="1728" dirty="0">
                <a:latin typeface="Verdana" panose="020B0604030504040204" pitchFamily="34" charset="0"/>
                <a:ea typeface="Verdana" panose="020B0604030504040204" pitchFamily="34" charset="0"/>
              </a:rPr>
              <a:t>(Millones Toneladas)</a:t>
            </a:r>
            <a:endParaRPr lang="es-PE" sz="1728" dirty="0">
              <a:latin typeface="Verdana" panose="020B0604030504040204" pitchFamily="34" charset="0"/>
              <a:ea typeface="Verdana" panose="020B0604030504040204" pitchFamily="34" charset="0"/>
            </a:endParaRPr>
          </a:p>
          <a:p>
            <a:endParaRPr lang="es-PE" sz="1584" dirty="0">
              <a:latin typeface="Verdana" panose="020B0604030504040204" pitchFamily="34" charset="0"/>
              <a:ea typeface="Verdana" panose="020B0604030504040204" pitchFamily="34" charset="0"/>
            </a:endParaRPr>
          </a:p>
        </p:txBody>
      </p:sp>
      <p:sp>
        <p:nvSpPr>
          <p:cNvPr id="29" name="Rectángulo 28">
            <a:extLst>
              <a:ext uri="{FF2B5EF4-FFF2-40B4-BE49-F238E27FC236}">
                <a16:creationId xmlns:a16="http://schemas.microsoft.com/office/drawing/2014/main" id="{CF0826E9-07D3-4943-88B4-447368577421}"/>
              </a:ext>
            </a:extLst>
          </p:cNvPr>
          <p:cNvSpPr/>
          <p:nvPr/>
        </p:nvSpPr>
        <p:spPr>
          <a:xfrm>
            <a:off x="346198" y="9434140"/>
            <a:ext cx="16865357" cy="170016"/>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0" name="Título 1">
            <a:extLst>
              <a:ext uri="{FF2B5EF4-FFF2-40B4-BE49-F238E27FC236}">
                <a16:creationId xmlns:a16="http://schemas.microsoft.com/office/drawing/2014/main" id="{1C037BAA-A13E-4641-A066-C2F9E151ABEE}"/>
              </a:ext>
            </a:extLst>
          </p:cNvPr>
          <p:cNvSpPr txBox="1">
            <a:spLocks/>
          </p:cNvSpPr>
          <p:nvPr/>
        </p:nvSpPr>
        <p:spPr>
          <a:xfrm>
            <a:off x="437139" y="-15696"/>
            <a:ext cx="15136128"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PE" sz="4031" b="1" dirty="0">
                <a:latin typeface="Verdana" panose="020B0604030504040204" pitchFamily="34" charset="0"/>
                <a:ea typeface="Verdana" panose="020B0604030504040204" pitchFamily="34" charset="0"/>
              </a:rPr>
              <a:t>Competencia en el sector</a:t>
            </a:r>
          </a:p>
        </p:txBody>
      </p:sp>
      <p:grpSp>
        <p:nvGrpSpPr>
          <p:cNvPr id="11" name="Grupo 10">
            <a:extLst>
              <a:ext uri="{FF2B5EF4-FFF2-40B4-BE49-F238E27FC236}">
                <a16:creationId xmlns:a16="http://schemas.microsoft.com/office/drawing/2014/main" id="{2B87D279-195D-4632-AF97-7F0503C67417}"/>
              </a:ext>
            </a:extLst>
          </p:cNvPr>
          <p:cNvGrpSpPr/>
          <p:nvPr/>
        </p:nvGrpSpPr>
        <p:grpSpPr>
          <a:xfrm>
            <a:off x="8842714" y="3620344"/>
            <a:ext cx="8273177" cy="4894730"/>
            <a:chOff x="6140338" y="2514451"/>
            <a:chExt cx="5746001" cy="3399555"/>
          </a:xfrm>
        </p:grpSpPr>
        <p:pic>
          <p:nvPicPr>
            <p:cNvPr id="63" name="Imagen 62">
              <a:extLst>
                <a:ext uri="{FF2B5EF4-FFF2-40B4-BE49-F238E27FC236}">
                  <a16:creationId xmlns:a16="http://schemas.microsoft.com/office/drawing/2014/main" id="{2DECB61A-14E7-4BDF-AB38-1A1F0078DE12}"/>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6140338" y="2864304"/>
              <a:ext cx="5556870" cy="3049702"/>
            </a:xfrm>
            <a:prstGeom prst="rect">
              <a:avLst/>
            </a:prstGeom>
          </p:spPr>
        </p:pic>
        <p:sp>
          <p:nvSpPr>
            <p:cNvPr id="64" name="Marcador de texto 3">
              <a:extLst>
                <a:ext uri="{FF2B5EF4-FFF2-40B4-BE49-F238E27FC236}">
                  <a16:creationId xmlns:a16="http://schemas.microsoft.com/office/drawing/2014/main" id="{689C8C47-CF6A-4E0A-949D-E1E276C4088C}"/>
                </a:ext>
              </a:extLst>
            </p:cNvPr>
            <p:cNvSpPr txBox="1">
              <a:spLocks/>
            </p:cNvSpPr>
            <p:nvPr/>
          </p:nvSpPr>
          <p:spPr>
            <a:xfrm>
              <a:off x="6347877" y="2514451"/>
              <a:ext cx="5538462" cy="2857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es-ES" sz="1728" b="1" dirty="0">
                  <a:latin typeface="Verdana" panose="020B0604030504040204" pitchFamily="34" charset="0"/>
                  <a:ea typeface="Verdana" panose="020B0604030504040204" pitchFamily="34" charset="0"/>
                </a:rPr>
                <a:t>Perú: Proyecciones de producción de cobre sin nueva inversión</a:t>
              </a:r>
            </a:p>
            <a:p>
              <a:pPr marL="0" indent="0" algn="ctr">
                <a:lnSpc>
                  <a:spcPct val="100000"/>
                </a:lnSpc>
                <a:spcBef>
                  <a:spcPts val="0"/>
                </a:spcBef>
                <a:buNone/>
              </a:pPr>
              <a:r>
                <a:rPr lang="es-ES" sz="1728" dirty="0">
                  <a:latin typeface="Verdana" panose="020B0604030504040204" pitchFamily="34" charset="0"/>
                  <a:ea typeface="Verdana" panose="020B0604030504040204" pitchFamily="34" charset="0"/>
                </a:rPr>
                <a:t>(Millones Toneladas)</a:t>
              </a:r>
              <a:endParaRPr lang="es-PE" sz="1728" dirty="0">
                <a:latin typeface="Verdana" panose="020B0604030504040204" pitchFamily="34" charset="0"/>
                <a:ea typeface="Verdana" panose="020B0604030504040204" pitchFamily="34" charset="0"/>
              </a:endParaRPr>
            </a:p>
            <a:p>
              <a:endParaRPr lang="es-PE" sz="1584" dirty="0">
                <a:latin typeface="Verdana" panose="020B0604030504040204" pitchFamily="34" charset="0"/>
                <a:ea typeface="Verdana" panose="020B0604030504040204" pitchFamily="34" charset="0"/>
              </a:endParaRPr>
            </a:p>
          </p:txBody>
        </p:sp>
        <p:sp>
          <p:nvSpPr>
            <p:cNvPr id="8" name="Rectángulo 7">
              <a:extLst>
                <a:ext uri="{FF2B5EF4-FFF2-40B4-BE49-F238E27FC236}">
                  <a16:creationId xmlns:a16="http://schemas.microsoft.com/office/drawing/2014/main" id="{B96E6D71-8D2E-41A9-A6C6-2657924AB3D1}"/>
                </a:ext>
              </a:extLst>
            </p:cNvPr>
            <p:cNvSpPr/>
            <p:nvPr/>
          </p:nvSpPr>
          <p:spPr>
            <a:xfrm>
              <a:off x="11310934" y="2859877"/>
              <a:ext cx="223484" cy="1326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9" name="Imagen 8">
              <a:extLst>
                <a:ext uri="{FF2B5EF4-FFF2-40B4-BE49-F238E27FC236}">
                  <a16:creationId xmlns:a16="http://schemas.microsoft.com/office/drawing/2014/main" id="{7CE682FA-EC6A-4B86-87EB-5CF35EB3203F}"/>
                </a:ext>
              </a:extLst>
            </p:cNvPr>
            <p:cNvPicPr>
              <a:picLocks noChangeAspect="1"/>
            </p:cNvPicPr>
            <p:nvPr/>
          </p:nvPicPr>
          <p:blipFill>
            <a:blip r:embed="rId11"/>
            <a:stretch>
              <a:fillRect/>
            </a:stretch>
          </p:blipFill>
          <p:spPr>
            <a:xfrm rot="3508698">
              <a:off x="8402426" y="3369649"/>
              <a:ext cx="223484" cy="1242600"/>
            </a:xfrm>
            <a:prstGeom prst="rect">
              <a:avLst/>
            </a:prstGeom>
          </p:spPr>
        </p:pic>
        <p:sp>
          <p:nvSpPr>
            <p:cNvPr id="26" name="Rectángulo 25">
              <a:extLst>
                <a:ext uri="{FF2B5EF4-FFF2-40B4-BE49-F238E27FC236}">
                  <a16:creationId xmlns:a16="http://schemas.microsoft.com/office/drawing/2014/main" id="{0BCAD1DC-32EB-47B4-9915-4B8DAE038BB9}"/>
                </a:ext>
              </a:extLst>
            </p:cNvPr>
            <p:cNvSpPr/>
            <p:nvPr/>
          </p:nvSpPr>
          <p:spPr>
            <a:xfrm rot="19549800">
              <a:off x="8030522" y="4075180"/>
              <a:ext cx="256941" cy="4507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Rectángulo 9">
              <a:extLst>
                <a:ext uri="{FF2B5EF4-FFF2-40B4-BE49-F238E27FC236}">
                  <a16:creationId xmlns:a16="http://schemas.microsoft.com/office/drawing/2014/main" id="{8A9E8563-5695-43D0-9CA8-66B5EED10972}"/>
                </a:ext>
              </a:extLst>
            </p:cNvPr>
            <p:cNvSpPr/>
            <p:nvPr/>
          </p:nvSpPr>
          <p:spPr>
            <a:xfrm>
              <a:off x="8761863" y="3862316"/>
              <a:ext cx="340349" cy="2287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grpSp>
    </p:spTree>
    <p:extLst>
      <p:ext uri="{BB962C8B-B14F-4D97-AF65-F5344CB8AC3E}">
        <p14:creationId xmlns:p14="http://schemas.microsoft.com/office/powerpoint/2010/main" val="420554636"/>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FEB6376B-0D61-2E1B-88D6-5A305372B4F9}"/>
              </a:ext>
            </a:extLst>
          </p:cNvPr>
          <p:cNvGrpSpPr/>
          <p:nvPr/>
        </p:nvGrpSpPr>
        <p:grpSpPr>
          <a:xfrm>
            <a:off x="0" y="0"/>
            <a:ext cx="17644937" cy="9968829"/>
            <a:chOff x="688" y="830802"/>
            <a:chExt cx="6873125" cy="3883097"/>
          </a:xfrm>
        </p:grpSpPr>
        <p:pic>
          <p:nvPicPr>
            <p:cNvPr id="2" name="Picture 45">
              <a:extLst>
                <a:ext uri="{FF2B5EF4-FFF2-40B4-BE49-F238E27FC236}">
                  <a16:creationId xmlns:a16="http://schemas.microsoft.com/office/drawing/2014/main" id="{E1D230B2-FB97-E078-DB23-839933E138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8" y="830802"/>
              <a:ext cx="6839163" cy="3847029"/>
            </a:xfrm>
            <a:prstGeom prst="rect">
              <a:avLst/>
            </a:prstGeom>
          </p:spPr>
        </p:pic>
        <p:pic>
          <p:nvPicPr>
            <p:cNvPr id="3" name="Picture 47">
              <a:extLst>
                <a:ext uri="{FF2B5EF4-FFF2-40B4-BE49-F238E27FC236}">
                  <a16:creationId xmlns:a16="http://schemas.microsoft.com/office/drawing/2014/main" id="{70ECB21A-AA0E-5A96-6476-B36ECC95EEB6}"/>
                </a:ext>
              </a:extLst>
            </p:cNvPr>
            <p:cNvPicPr>
              <a:picLocks noChangeAspect="1"/>
            </p:cNvPicPr>
            <p:nvPr/>
          </p:nvPicPr>
          <p:blipFill rotWithShape="1">
            <a:blip r:embed="rId4">
              <a:extLst>
                <a:ext uri="{28A0092B-C50C-407E-A947-70E740481C1C}">
                  <a14:useLocalDpi xmlns:a14="http://schemas.microsoft.com/office/drawing/2010/main" val="0"/>
                </a:ext>
              </a:extLst>
            </a:blip>
            <a:srcRect l="3605" r="31896"/>
            <a:stretch/>
          </p:blipFill>
          <p:spPr>
            <a:xfrm>
              <a:off x="11921" y="866097"/>
              <a:ext cx="4412047" cy="3847802"/>
            </a:xfrm>
            <a:prstGeom prst="rect">
              <a:avLst/>
            </a:prstGeom>
          </p:spPr>
        </p:pic>
        <p:sp>
          <p:nvSpPr>
            <p:cNvPr id="6" name="CuadroTexto 5">
              <a:extLst>
                <a:ext uri="{FF2B5EF4-FFF2-40B4-BE49-F238E27FC236}">
                  <a16:creationId xmlns:a16="http://schemas.microsoft.com/office/drawing/2014/main" id="{FD9313E7-4E12-CF86-046D-D0FE593759F2}"/>
                </a:ext>
              </a:extLst>
            </p:cNvPr>
            <p:cNvSpPr txBox="1"/>
            <p:nvPr/>
          </p:nvSpPr>
          <p:spPr>
            <a:xfrm>
              <a:off x="158842" y="1936989"/>
              <a:ext cx="2387399" cy="1894204"/>
            </a:xfrm>
            <a:prstGeom prst="rect">
              <a:avLst/>
            </a:prstGeom>
            <a:noFill/>
          </p:spPr>
          <p:txBody>
            <a:bodyPr wrap="square">
              <a:spAutoFit/>
            </a:bodyPr>
            <a:lstStyle/>
            <a:p>
              <a:pPr marL="457200" indent="-457200" defTabSz="178125">
                <a:spcAft>
                  <a:spcPts val="600"/>
                </a:spcAft>
                <a:buFont typeface="Wingdings" panose="05000000000000000000" pitchFamily="2" charset="2"/>
                <a:buChar char="Ø"/>
                <a:defRPr/>
              </a:pPr>
              <a:r>
                <a:rPr lang="es-ES" sz="2600" dirty="0">
                  <a:solidFill>
                    <a:schemeClr val="bg1"/>
                  </a:solidFill>
                  <a:latin typeface="Arial" panose="020B0604020202020204" pitchFamily="34" charset="0"/>
                  <a:ea typeface="Verdana" panose="020B0604030504040204" pitchFamily="34" charset="0"/>
                </a:rPr>
                <a:t> </a:t>
              </a:r>
              <a:r>
                <a:rPr lang="es-ES" sz="2800" b="1" dirty="0">
                  <a:solidFill>
                    <a:schemeClr val="bg1"/>
                  </a:solidFill>
                  <a:latin typeface="Arial" panose="020B0604020202020204" pitchFamily="34" charset="0"/>
                  <a:ea typeface="Verdana" panose="020B0604030504040204" pitchFamily="34" charset="0"/>
                </a:rPr>
                <a:t>Cartera de Proyectos</a:t>
              </a: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defTabSz="178125">
                <a:spcAft>
                  <a:spcPts val="600"/>
                </a:spcAft>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r>
                <a:rPr lang="es-ES" sz="2800" b="1" dirty="0">
                  <a:solidFill>
                    <a:schemeClr val="bg1"/>
                  </a:solidFill>
                  <a:latin typeface="Arial" panose="020B0604020202020204" pitchFamily="34" charset="0"/>
                  <a:ea typeface="Verdana" panose="020B0604030504040204" pitchFamily="34" charset="0"/>
                </a:rPr>
                <a:t>Costo de no ejecutar los Proyectos</a:t>
              </a:r>
            </a:p>
            <a:p>
              <a:pPr marL="457200" indent="-457200" defTabSz="178125">
                <a:spcAft>
                  <a:spcPts val="600"/>
                </a:spcAft>
                <a:buFont typeface="Wingdings" panose="05000000000000000000" pitchFamily="2" charset="2"/>
                <a:buChar char="Ø"/>
                <a:defRPr/>
              </a:pPr>
              <a:endParaRPr lang="es-ES" sz="28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r>
                <a:rPr lang="es-ES" sz="2800" b="1" dirty="0">
                  <a:solidFill>
                    <a:schemeClr val="bg1"/>
                  </a:solidFill>
                  <a:latin typeface="Arial" panose="020B0604020202020204" pitchFamily="34" charset="0"/>
                  <a:ea typeface="Verdana" panose="020B0604030504040204" pitchFamily="34" charset="0"/>
                </a:rPr>
                <a:t>¿Qué hubiera pasado? </a:t>
              </a:r>
              <a:endParaRPr lang="pt-BR" sz="2800" b="1" dirty="0">
                <a:solidFill>
                  <a:schemeClr val="bg1"/>
                </a:solidFill>
                <a:latin typeface="Arial" panose="020B0604020202020204" pitchFamily="34" charset="0"/>
                <a:ea typeface="Verdana" panose="020B0604030504040204" pitchFamily="34" charset="0"/>
              </a:endParaRPr>
            </a:p>
          </p:txBody>
        </p:sp>
        <p:pic>
          <p:nvPicPr>
            <p:cNvPr id="9" name="Picture 49">
              <a:extLst>
                <a:ext uri="{FF2B5EF4-FFF2-40B4-BE49-F238E27FC236}">
                  <a16:creationId xmlns:a16="http://schemas.microsoft.com/office/drawing/2014/main" id="{130C52E8-AA01-8E03-2E68-828FAA14DC45}"/>
                </a:ext>
              </a:extLst>
            </p:cNvPr>
            <p:cNvPicPr>
              <a:picLocks noChangeAspect="1"/>
            </p:cNvPicPr>
            <p:nvPr/>
          </p:nvPicPr>
          <p:blipFill rotWithShape="1">
            <a:blip r:embed="rId5">
              <a:extLst>
                <a:ext uri="{28A0092B-C50C-407E-A947-70E740481C1C}">
                  <a14:useLocalDpi xmlns:a14="http://schemas.microsoft.com/office/drawing/2010/main" val="0"/>
                </a:ext>
              </a:extLst>
            </a:blip>
            <a:srcRect l="18962" t="5698" r="38840"/>
            <a:stretch/>
          </p:blipFill>
          <p:spPr>
            <a:xfrm>
              <a:off x="1744684" y="939645"/>
              <a:ext cx="2886556" cy="3628570"/>
            </a:xfrm>
            <a:prstGeom prst="rect">
              <a:avLst/>
            </a:prstGeom>
          </p:spPr>
        </p:pic>
        <p:sp>
          <p:nvSpPr>
            <p:cNvPr id="10" name="CuadroTexto 9">
              <a:extLst>
                <a:ext uri="{FF2B5EF4-FFF2-40B4-BE49-F238E27FC236}">
                  <a16:creationId xmlns:a16="http://schemas.microsoft.com/office/drawing/2014/main" id="{FA0987CB-3ADB-E021-195C-08D71160EC3D}"/>
                </a:ext>
              </a:extLst>
            </p:cNvPr>
            <p:cNvSpPr txBox="1"/>
            <p:nvPr/>
          </p:nvSpPr>
          <p:spPr>
            <a:xfrm>
              <a:off x="332493" y="1087903"/>
              <a:ext cx="2491059" cy="227784"/>
            </a:xfrm>
            <a:prstGeom prst="rect">
              <a:avLst/>
            </a:prstGeom>
            <a:noFill/>
          </p:spPr>
          <p:txBody>
            <a:bodyPr wrap="square">
              <a:spAutoFit/>
            </a:bodyPr>
            <a:lstStyle/>
            <a:p>
              <a:pPr defTabSz="178125">
                <a:lnSpc>
                  <a:spcPct val="80000"/>
                </a:lnSpc>
                <a:defRPr/>
              </a:pPr>
              <a:r>
                <a:rPr lang="es-ES" sz="4000" dirty="0">
                  <a:solidFill>
                    <a:prstClr val="white"/>
                  </a:solidFill>
                  <a:latin typeface="Votorantim Sans Black" panose="02010A03030202050203" pitchFamily="2" charset="0"/>
                  <a:ea typeface="ＭＳ Ｐゴシック" panose="020B0600070205080204" pitchFamily="34" charset="-128"/>
                </a:rPr>
                <a:t>Desarrollo de Proyectos</a:t>
              </a:r>
              <a:endParaRPr lang="pt-BR" sz="4000" dirty="0">
                <a:solidFill>
                  <a:prstClr val="white"/>
                </a:solidFill>
                <a:latin typeface="Votorantim Sans Black" panose="02010A03030202050203" pitchFamily="2" charset="0"/>
                <a:ea typeface="ＭＳ Ｐゴシック" panose="020B0600070205080204" pitchFamily="34" charset="-128"/>
              </a:endParaRPr>
            </a:p>
          </p:txBody>
        </p:sp>
        <p:sp>
          <p:nvSpPr>
            <p:cNvPr id="12" name="CuadroTexto 11">
              <a:extLst>
                <a:ext uri="{FF2B5EF4-FFF2-40B4-BE49-F238E27FC236}">
                  <a16:creationId xmlns:a16="http://schemas.microsoft.com/office/drawing/2014/main" id="{88BA5B28-E889-0E15-D45F-4F69A7F5FAE7}"/>
                </a:ext>
              </a:extLst>
            </p:cNvPr>
            <p:cNvSpPr txBox="1"/>
            <p:nvPr/>
          </p:nvSpPr>
          <p:spPr>
            <a:xfrm>
              <a:off x="4384670" y="1827195"/>
              <a:ext cx="2224706" cy="208602"/>
            </a:xfrm>
            <a:prstGeom prst="rect">
              <a:avLst/>
            </a:prstGeom>
            <a:noFill/>
          </p:spPr>
          <p:txBody>
            <a:bodyPr wrap="square">
              <a:spAutoFit/>
            </a:bodyPr>
            <a:lstStyle/>
            <a:p>
              <a:pPr defTabSz="178125">
                <a:lnSpc>
                  <a:spcPct val="80000"/>
                </a:lnSpc>
                <a:defRPr/>
              </a:pPr>
              <a:r>
                <a:rPr lang="es-ES" sz="3600" i="1" dirty="0">
                  <a:solidFill>
                    <a:prstClr val="white"/>
                  </a:solidFill>
                  <a:latin typeface="Votorantim Sans Black" panose="02010A03030202050203" pitchFamily="2" charset="0"/>
                  <a:ea typeface="ＭＳ Ｐゴシック" panose="020B0600070205080204" pitchFamily="34" charset="-128"/>
                </a:rPr>
                <a:t>Desafíos en Permisos</a:t>
              </a:r>
              <a:endParaRPr lang="pt-BR" sz="3600" i="1" dirty="0">
                <a:solidFill>
                  <a:prstClr val="white"/>
                </a:solidFill>
                <a:latin typeface="Votorantim Sans Black" panose="02010A03030202050203" pitchFamily="2" charset="0"/>
                <a:ea typeface="ＭＳ Ｐゴシック" panose="020B0600070205080204" pitchFamily="34" charset="-128"/>
              </a:endParaRPr>
            </a:p>
          </p:txBody>
        </p:sp>
        <p:sp>
          <p:nvSpPr>
            <p:cNvPr id="13" name="CuadroTexto 12">
              <a:extLst>
                <a:ext uri="{FF2B5EF4-FFF2-40B4-BE49-F238E27FC236}">
                  <a16:creationId xmlns:a16="http://schemas.microsoft.com/office/drawing/2014/main" id="{F8000E29-0513-B647-D5DC-36794AE713CD}"/>
                </a:ext>
              </a:extLst>
            </p:cNvPr>
            <p:cNvSpPr txBox="1"/>
            <p:nvPr/>
          </p:nvSpPr>
          <p:spPr>
            <a:xfrm>
              <a:off x="4443147" y="2322108"/>
              <a:ext cx="2430666" cy="875170"/>
            </a:xfrm>
            <a:prstGeom prst="rect">
              <a:avLst/>
            </a:prstGeom>
            <a:noFill/>
          </p:spPr>
          <p:txBody>
            <a:bodyPr wrap="square">
              <a:spAutoFit/>
            </a:bodyPr>
            <a:lstStyle/>
            <a:p>
              <a:pPr marL="457200" indent="-457200" defTabSz="178125">
                <a:buFont typeface="Wingdings" panose="05000000000000000000" pitchFamily="2" charset="2"/>
                <a:buChar char="Ø"/>
                <a:defRPr/>
              </a:pPr>
              <a:r>
                <a:rPr lang="es-ES" sz="2800" b="1" dirty="0">
                  <a:solidFill>
                    <a:schemeClr val="bg1"/>
                  </a:solidFill>
                  <a:latin typeface="Arial" panose="020B0604020202020204" pitchFamily="34" charset="0"/>
                </a:rPr>
                <a:t>Situación Permisos</a:t>
              </a:r>
            </a:p>
            <a:p>
              <a:pPr marL="457200" indent="-457200" defTabSz="178125">
                <a:buFont typeface="Wingdings" panose="05000000000000000000" pitchFamily="2" charset="2"/>
                <a:buChar char="Ø"/>
                <a:defRPr/>
              </a:pPr>
              <a:endParaRPr lang="es-ES" sz="2800" b="1" dirty="0">
                <a:solidFill>
                  <a:schemeClr val="bg1"/>
                </a:solidFill>
                <a:latin typeface="Arial" panose="020B0604020202020204" pitchFamily="34" charset="0"/>
              </a:endParaRPr>
            </a:p>
            <a:p>
              <a:pPr marL="457200" indent="-457200" defTabSz="178125">
                <a:buFont typeface="Wingdings" panose="05000000000000000000" pitchFamily="2" charset="2"/>
                <a:buChar char="Ø"/>
                <a:defRPr/>
              </a:pPr>
              <a:r>
                <a:rPr lang="es-ES" sz="2800" b="1" dirty="0">
                  <a:solidFill>
                    <a:schemeClr val="bg1"/>
                  </a:solidFill>
                  <a:latin typeface="Arial" panose="020B0604020202020204" pitchFamily="34" charset="0"/>
                </a:rPr>
                <a:t>Institucionalidad</a:t>
              </a:r>
            </a:p>
            <a:p>
              <a:pPr marL="457200" indent="-457200" defTabSz="178125">
                <a:buFont typeface="Wingdings" panose="05000000000000000000" pitchFamily="2" charset="2"/>
                <a:buChar char="Ø"/>
                <a:defRPr/>
              </a:pPr>
              <a:endParaRPr lang="es-ES" sz="2800" b="1" dirty="0">
                <a:solidFill>
                  <a:schemeClr val="bg1"/>
                </a:solidFill>
                <a:latin typeface="Arial" panose="020B0604020202020204" pitchFamily="34" charset="0"/>
              </a:endParaRPr>
            </a:p>
            <a:p>
              <a:pPr marL="457200" indent="-457200" defTabSz="178125">
                <a:buFont typeface="Wingdings" panose="05000000000000000000" pitchFamily="2" charset="2"/>
                <a:buChar char="Ø"/>
                <a:defRPr/>
              </a:pPr>
              <a:r>
                <a:rPr lang="es-ES" sz="2800" b="1" dirty="0">
                  <a:solidFill>
                    <a:schemeClr val="bg1"/>
                  </a:solidFill>
                  <a:latin typeface="Arial" panose="020B0604020202020204" pitchFamily="34" charset="0"/>
                </a:rPr>
                <a:t>Propuestas</a:t>
              </a:r>
            </a:p>
          </p:txBody>
        </p:sp>
      </p:grpSp>
      <p:sp>
        <p:nvSpPr>
          <p:cNvPr id="4" name="CuadroTexto 3">
            <a:extLst>
              <a:ext uri="{FF2B5EF4-FFF2-40B4-BE49-F238E27FC236}">
                <a16:creationId xmlns:a16="http://schemas.microsoft.com/office/drawing/2014/main" id="{9565651E-6879-CC1C-361D-0462F02BB390}"/>
              </a:ext>
            </a:extLst>
          </p:cNvPr>
          <p:cNvSpPr txBox="1"/>
          <p:nvPr/>
        </p:nvSpPr>
        <p:spPr>
          <a:xfrm>
            <a:off x="898426" y="4109011"/>
            <a:ext cx="4214065" cy="978729"/>
          </a:xfrm>
          <a:prstGeom prst="rect">
            <a:avLst/>
          </a:prstGeom>
          <a:noFill/>
        </p:spPr>
        <p:txBody>
          <a:bodyPr wrap="square">
            <a:spAutoFit/>
          </a:bodyPr>
          <a:lstStyle/>
          <a:p>
            <a:pPr defTabSz="178125">
              <a:lnSpc>
                <a:spcPct val="80000"/>
              </a:lnSpc>
              <a:defRPr/>
            </a:pPr>
            <a:r>
              <a:rPr lang="es-ES" sz="3600" i="1" dirty="0">
                <a:solidFill>
                  <a:srgbClr val="FF5000"/>
                </a:solidFill>
                <a:latin typeface="Votorantim Sans Black" panose="02010A03030202050203" pitchFamily="2" charset="0"/>
                <a:ea typeface="ＭＳ Ｐゴシック" panose="020B0600070205080204" pitchFamily="34" charset="-128"/>
              </a:rPr>
              <a:t>Situación de la Inversión</a:t>
            </a:r>
            <a:endParaRPr lang="pt-BR" sz="3600" i="1" dirty="0">
              <a:solidFill>
                <a:srgbClr val="FF5000"/>
              </a:solidFill>
              <a:latin typeface="Votorantim Sans Black" panose="02010A03030202050203" pitchFamily="2" charset="0"/>
              <a:ea typeface="ＭＳ Ｐゴシック" panose="020B0600070205080204" pitchFamily="34" charset="-128"/>
            </a:endParaRPr>
          </a:p>
        </p:txBody>
      </p:sp>
      <p:sp>
        <p:nvSpPr>
          <p:cNvPr id="5" name="CuadroTexto 4">
            <a:extLst>
              <a:ext uri="{FF2B5EF4-FFF2-40B4-BE49-F238E27FC236}">
                <a16:creationId xmlns:a16="http://schemas.microsoft.com/office/drawing/2014/main" id="{8DB625E1-4794-1FD5-7F65-986F2515822E}"/>
              </a:ext>
            </a:extLst>
          </p:cNvPr>
          <p:cNvSpPr txBox="1"/>
          <p:nvPr/>
        </p:nvSpPr>
        <p:spPr>
          <a:xfrm>
            <a:off x="876443" y="1768295"/>
            <a:ext cx="4214065" cy="535531"/>
          </a:xfrm>
          <a:prstGeom prst="rect">
            <a:avLst/>
          </a:prstGeom>
          <a:noFill/>
        </p:spPr>
        <p:txBody>
          <a:bodyPr wrap="square">
            <a:spAutoFit/>
          </a:bodyPr>
          <a:lstStyle/>
          <a:p>
            <a:pPr defTabSz="178125">
              <a:lnSpc>
                <a:spcPct val="80000"/>
              </a:lnSpc>
              <a:defRPr/>
            </a:pPr>
            <a:r>
              <a:rPr lang="es-ES" sz="3600" i="1" dirty="0">
                <a:solidFill>
                  <a:prstClr val="white"/>
                </a:solidFill>
                <a:latin typeface="Votorantim Sans Black" panose="02010A03030202050203" pitchFamily="2" charset="0"/>
                <a:ea typeface="ＭＳ Ｐゴシック" panose="020B0600070205080204" pitchFamily="34" charset="-128"/>
              </a:rPr>
              <a:t>Oportunidades</a:t>
            </a:r>
            <a:endParaRPr lang="pt-BR" sz="3600" i="1" dirty="0">
              <a:solidFill>
                <a:prstClr val="white"/>
              </a:solidFill>
              <a:latin typeface="Votorantim Sans Black" panose="02010A03030202050203" pitchFamily="2" charset="0"/>
              <a:ea typeface="ＭＳ Ｐゴシック" panose="020B0600070205080204" pitchFamily="34" charset="-128"/>
            </a:endParaRPr>
          </a:p>
        </p:txBody>
      </p:sp>
    </p:spTree>
    <p:extLst>
      <p:ext uri="{BB962C8B-B14F-4D97-AF65-F5344CB8AC3E}">
        <p14:creationId xmlns:p14="http://schemas.microsoft.com/office/powerpoint/2010/main" val="1916631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536085" y="106907"/>
            <a:ext cx="15136128"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ES" sz="4031" b="1" dirty="0">
                <a:latin typeface="Verdana" panose="020B0604030504040204" pitchFamily="34" charset="0"/>
                <a:ea typeface="Verdana" panose="020B0604030504040204" pitchFamily="34" charset="0"/>
              </a:rPr>
              <a:t>Situación de la Inversión Proyectos al 2023</a:t>
            </a:r>
            <a:endParaRPr lang="en-US" sz="4031" b="1" dirty="0">
              <a:latin typeface="Verdana" panose="020B0604030504040204" pitchFamily="34" charset="0"/>
              <a:ea typeface="Verdana" panose="020B0604030504040204" pitchFamily="34" charset="0"/>
            </a:endParaRPr>
          </a:p>
        </p:txBody>
      </p:sp>
      <p:sp>
        <p:nvSpPr>
          <p:cNvPr id="43" name="Rectángulo 42">
            <a:extLst>
              <a:ext uri="{FF2B5EF4-FFF2-40B4-BE49-F238E27FC236}">
                <a16:creationId xmlns:a16="http://schemas.microsoft.com/office/drawing/2014/main" id="{A47444E0-B829-4C59-49CB-964C42021F99}"/>
              </a:ext>
            </a:extLst>
          </p:cNvPr>
          <p:cNvSpPr/>
          <p:nvPr/>
        </p:nvSpPr>
        <p:spPr>
          <a:xfrm>
            <a:off x="12767881" y="8739874"/>
            <a:ext cx="4332272" cy="5183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PE" sz="1296" i="1" dirty="0">
                <a:solidFill>
                  <a:schemeClr val="tx1"/>
                </a:solidFill>
                <a:latin typeface="Lato" panose="020F0502020204030203" pitchFamily="34" charset="0"/>
                <a:ea typeface="Lato" panose="020F0502020204030203" pitchFamily="34" charset="0"/>
                <a:cs typeface="Lato" panose="020F0502020204030203" pitchFamily="34" charset="0"/>
              </a:rPr>
              <a:t>*Cartera de Proyectos Actualizado a marzo 2024</a:t>
            </a:r>
          </a:p>
          <a:p>
            <a:r>
              <a:rPr lang="es-PE" sz="1296" dirty="0">
                <a:solidFill>
                  <a:schemeClr val="tx1"/>
                </a:solidFill>
                <a:latin typeface="Lato" panose="020F0502020204030203" pitchFamily="34" charset="0"/>
                <a:ea typeface="Lato" panose="020F0502020204030203" pitchFamily="34" charset="0"/>
                <a:cs typeface="Lato" panose="020F0502020204030203" pitchFamily="34" charset="0"/>
              </a:rPr>
              <a:t> Fuente: MINEM</a:t>
            </a:r>
          </a:p>
        </p:txBody>
      </p:sp>
      <p:sp>
        <p:nvSpPr>
          <p:cNvPr id="3" name="Marcador de texto 8">
            <a:extLst>
              <a:ext uri="{FF2B5EF4-FFF2-40B4-BE49-F238E27FC236}">
                <a16:creationId xmlns:a16="http://schemas.microsoft.com/office/drawing/2014/main" id="{A080E81D-E221-238F-D337-0E12CA61E067}"/>
              </a:ext>
            </a:extLst>
          </p:cNvPr>
          <p:cNvSpPr txBox="1">
            <a:spLocks/>
          </p:cNvSpPr>
          <p:nvPr/>
        </p:nvSpPr>
        <p:spPr>
          <a:xfrm>
            <a:off x="672306" y="8442381"/>
            <a:ext cx="10643297" cy="69809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MX" sz="1536" dirty="0">
                <a:solidFill>
                  <a:srgbClr val="3D5163"/>
                </a:solidFill>
              </a:rPr>
              <a:t>Fuente: </a:t>
            </a:r>
            <a:r>
              <a:rPr lang="es-MX" sz="1536" dirty="0" err="1">
                <a:solidFill>
                  <a:srgbClr val="3D5163"/>
                </a:solidFill>
              </a:rPr>
              <a:t>Minem</a:t>
            </a:r>
            <a:r>
              <a:rPr lang="es-MX" sz="1536" dirty="0">
                <a:solidFill>
                  <a:srgbClr val="3D5163"/>
                </a:solidFill>
              </a:rPr>
              <a:t>. Elaboración IPE. Al 2023.</a:t>
            </a:r>
          </a:p>
        </p:txBody>
      </p:sp>
      <p:pic>
        <p:nvPicPr>
          <p:cNvPr id="4" name="Imagen 3">
            <a:extLst>
              <a:ext uri="{FF2B5EF4-FFF2-40B4-BE49-F238E27FC236}">
                <a16:creationId xmlns:a16="http://schemas.microsoft.com/office/drawing/2014/main" id="{232BCEDA-B9C4-1466-5386-42EAE7563515}"/>
              </a:ext>
            </a:extLst>
          </p:cNvPr>
          <p:cNvPicPr>
            <a:picLocks noChangeAspect="1"/>
          </p:cNvPicPr>
          <p:nvPr/>
        </p:nvPicPr>
        <p:blipFill>
          <a:blip r:embed="rId4"/>
          <a:stretch>
            <a:fillRect/>
          </a:stretch>
        </p:blipFill>
        <p:spPr>
          <a:xfrm>
            <a:off x="1691062" y="2063574"/>
            <a:ext cx="11487426" cy="5805807"/>
          </a:xfrm>
          <a:prstGeom prst="rect">
            <a:avLst/>
          </a:prstGeom>
        </p:spPr>
      </p:pic>
      <p:sp>
        <p:nvSpPr>
          <p:cNvPr id="7" name="CuadroTexto 6">
            <a:extLst>
              <a:ext uri="{FF2B5EF4-FFF2-40B4-BE49-F238E27FC236}">
                <a16:creationId xmlns:a16="http://schemas.microsoft.com/office/drawing/2014/main" id="{BB4314F6-13AD-FCC6-2492-C675DEA73789}"/>
              </a:ext>
            </a:extLst>
          </p:cNvPr>
          <p:cNvSpPr txBox="1"/>
          <p:nvPr/>
        </p:nvSpPr>
        <p:spPr>
          <a:xfrm>
            <a:off x="13139554" y="3989052"/>
            <a:ext cx="2142698" cy="646331"/>
          </a:xfrm>
          <a:prstGeom prst="rect">
            <a:avLst/>
          </a:prstGeom>
          <a:solidFill>
            <a:schemeClr val="bg1"/>
          </a:solidFill>
        </p:spPr>
        <p:txBody>
          <a:bodyPr wrap="square" rtlCol="0">
            <a:spAutoFit/>
          </a:bodyPr>
          <a:lstStyle/>
          <a:p>
            <a:pPr algn="ctr"/>
            <a:r>
              <a:rPr lang="es-PE" dirty="0"/>
              <a:t>2/3 sin fecha probable de inicio</a:t>
            </a:r>
          </a:p>
        </p:txBody>
      </p:sp>
    </p:spTree>
    <p:extLst>
      <p:ext uri="{BB962C8B-B14F-4D97-AF65-F5344CB8AC3E}">
        <p14:creationId xmlns:p14="http://schemas.microsoft.com/office/powerpoint/2010/main" val="2771976231"/>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320527" y="106907"/>
            <a:ext cx="17055245"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endParaRPr lang="en-US" sz="2592" b="1" dirty="0">
              <a:latin typeface="Verdana" panose="020B0604030504040204" pitchFamily="34" charset="0"/>
              <a:ea typeface="Verdana" panose="020B0604030504040204" pitchFamily="34" charset="0"/>
            </a:endParaRPr>
          </a:p>
        </p:txBody>
      </p:sp>
      <p:sp>
        <p:nvSpPr>
          <p:cNvPr id="3" name="Marcador de texto 8">
            <a:extLst>
              <a:ext uri="{FF2B5EF4-FFF2-40B4-BE49-F238E27FC236}">
                <a16:creationId xmlns:a16="http://schemas.microsoft.com/office/drawing/2014/main" id="{A080E81D-E221-238F-D337-0E12CA61E067}"/>
              </a:ext>
            </a:extLst>
          </p:cNvPr>
          <p:cNvSpPr txBox="1">
            <a:spLocks/>
          </p:cNvSpPr>
          <p:nvPr/>
        </p:nvSpPr>
        <p:spPr>
          <a:xfrm>
            <a:off x="672306" y="8885731"/>
            <a:ext cx="10643297" cy="69809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MX" sz="1536" dirty="0">
                <a:solidFill>
                  <a:srgbClr val="3D5163"/>
                </a:solidFill>
              </a:rPr>
              <a:t>Elaboración IPE. Al 2023.</a:t>
            </a:r>
          </a:p>
        </p:txBody>
      </p:sp>
      <p:sp>
        <p:nvSpPr>
          <p:cNvPr id="2" name="Título 19">
            <a:extLst>
              <a:ext uri="{FF2B5EF4-FFF2-40B4-BE49-F238E27FC236}">
                <a16:creationId xmlns:a16="http://schemas.microsoft.com/office/drawing/2014/main" id="{348BAB26-36A2-C364-7ED7-964A4B4FAFFD}"/>
              </a:ext>
            </a:extLst>
          </p:cNvPr>
          <p:cNvSpPr txBox="1">
            <a:spLocks/>
          </p:cNvSpPr>
          <p:nvPr/>
        </p:nvSpPr>
        <p:spPr>
          <a:xfrm>
            <a:off x="690630" y="601522"/>
            <a:ext cx="13830587" cy="1168708"/>
          </a:xfrm>
          <a:prstGeom prst="rect">
            <a:avLst/>
          </a:prstGeom>
        </p:spPr>
        <p:txBody>
          <a:bodyPr vert="horz">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PE" sz="4030" b="1" dirty="0">
                <a:latin typeface="Verdana" panose="020B0604030504040204" pitchFamily="34" charset="0"/>
                <a:ea typeface="Verdana" panose="020B0604030504040204" pitchFamily="34" charset="0"/>
              </a:rPr>
              <a:t>Razones de retrasos en Proyectos</a:t>
            </a:r>
          </a:p>
        </p:txBody>
      </p:sp>
      <p:pic>
        <p:nvPicPr>
          <p:cNvPr id="4" name="Imagen 3">
            <a:extLst>
              <a:ext uri="{FF2B5EF4-FFF2-40B4-BE49-F238E27FC236}">
                <a16:creationId xmlns:a16="http://schemas.microsoft.com/office/drawing/2014/main" id="{E25593DB-0F8E-53F9-31AC-18C78370590E}"/>
              </a:ext>
            </a:extLst>
          </p:cNvPr>
          <p:cNvPicPr>
            <a:picLocks noChangeAspect="1"/>
          </p:cNvPicPr>
          <p:nvPr/>
        </p:nvPicPr>
        <p:blipFill>
          <a:blip r:embed="rId4"/>
          <a:stretch>
            <a:fillRect/>
          </a:stretch>
        </p:blipFill>
        <p:spPr>
          <a:xfrm>
            <a:off x="690630" y="2753068"/>
            <a:ext cx="8479490" cy="5278987"/>
          </a:xfrm>
          <a:prstGeom prst="rect">
            <a:avLst/>
          </a:prstGeom>
        </p:spPr>
      </p:pic>
      <p:sp>
        <p:nvSpPr>
          <p:cNvPr id="5" name="CuadroTexto 4">
            <a:extLst>
              <a:ext uri="{FF2B5EF4-FFF2-40B4-BE49-F238E27FC236}">
                <a16:creationId xmlns:a16="http://schemas.microsoft.com/office/drawing/2014/main" id="{C5AED7E1-A4AA-68C2-4A2D-0C0526FF313C}"/>
              </a:ext>
            </a:extLst>
          </p:cNvPr>
          <p:cNvSpPr txBox="1"/>
          <p:nvPr/>
        </p:nvSpPr>
        <p:spPr>
          <a:xfrm>
            <a:off x="558950" y="1986551"/>
            <a:ext cx="9626811" cy="446917"/>
          </a:xfrm>
          <a:prstGeom prst="rect">
            <a:avLst/>
          </a:prstGeom>
          <a:noFill/>
        </p:spPr>
        <p:txBody>
          <a:bodyPr wrap="square">
            <a:spAutoFit/>
          </a:bodyPr>
          <a:lstStyle/>
          <a:p>
            <a:r>
              <a:rPr lang="es-MX" sz="2304" b="1" dirty="0"/>
              <a:t>Fecha de inicio de proyectos retrasados por razones ajenas a la empresa</a:t>
            </a:r>
            <a:endParaRPr lang="es-PE" sz="2304" b="1" dirty="0"/>
          </a:p>
        </p:txBody>
      </p:sp>
      <p:sp>
        <p:nvSpPr>
          <p:cNvPr id="7" name="CuadroTexto 6">
            <a:extLst>
              <a:ext uri="{FF2B5EF4-FFF2-40B4-BE49-F238E27FC236}">
                <a16:creationId xmlns:a16="http://schemas.microsoft.com/office/drawing/2014/main" id="{EDD069D4-3BAA-DC5C-8B2F-797E5C92D16D}"/>
              </a:ext>
            </a:extLst>
          </p:cNvPr>
          <p:cNvSpPr txBox="1"/>
          <p:nvPr/>
        </p:nvSpPr>
        <p:spPr>
          <a:xfrm>
            <a:off x="9752688" y="3743270"/>
            <a:ext cx="6218674" cy="2574423"/>
          </a:xfrm>
          <a:prstGeom prst="rect">
            <a:avLst/>
          </a:prstGeom>
          <a:noFill/>
        </p:spPr>
        <p:txBody>
          <a:bodyPr wrap="square">
            <a:spAutoFit/>
          </a:bodyPr>
          <a:lstStyle/>
          <a:p>
            <a:pPr marL="493707" indent="-493707" algn="just">
              <a:buFont typeface="Arial" panose="020B0604020202020204" pitchFamily="34" charset="0"/>
              <a:buChar char="•"/>
            </a:pPr>
            <a:r>
              <a:rPr lang="es-MX" sz="2304" dirty="0">
                <a:ea typeface="Calibri" panose="020F0502020204030204" pitchFamily="34" charset="0"/>
              </a:rPr>
              <a:t>23 de los 46 proyectos en cartera enfrentaban retrasos por razones ajenas a la voluntad de la empresa, con un monto de inversión de                        US$ 29,667 millones.</a:t>
            </a:r>
          </a:p>
          <a:p>
            <a:pPr marL="493707" indent="-493707" algn="just">
              <a:buFont typeface="Arial" panose="020B0604020202020204" pitchFamily="34" charset="0"/>
              <a:buChar char="•"/>
            </a:pPr>
            <a:endParaRPr lang="es-MX" sz="2304" dirty="0">
              <a:ea typeface="Calibri" panose="020F0502020204030204" pitchFamily="34" charset="0"/>
            </a:endParaRPr>
          </a:p>
          <a:p>
            <a:pPr marL="493707" indent="-493707" algn="just">
              <a:buFont typeface="Arial" panose="020B0604020202020204" pitchFamily="34" charset="0"/>
              <a:buChar char="•"/>
            </a:pPr>
            <a:r>
              <a:rPr lang="es-MX" sz="2304" dirty="0">
                <a:ea typeface="Calibri" panose="020F0502020204030204" pitchFamily="34" charset="0"/>
              </a:rPr>
              <a:t>8 de estos proyectos acumulaban más de una década de retraso.</a:t>
            </a:r>
            <a:endParaRPr lang="es-PE" sz="2304" dirty="0">
              <a:ea typeface="Calibri" panose="020F0502020204030204" pitchFamily="34" charset="0"/>
            </a:endParaRPr>
          </a:p>
        </p:txBody>
      </p:sp>
      <p:sp>
        <p:nvSpPr>
          <p:cNvPr id="8" name="CuadroTexto 7">
            <a:extLst>
              <a:ext uri="{FF2B5EF4-FFF2-40B4-BE49-F238E27FC236}">
                <a16:creationId xmlns:a16="http://schemas.microsoft.com/office/drawing/2014/main" id="{88E227FA-5886-7F48-9719-C1D36FB0237F}"/>
              </a:ext>
            </a:extLst>
          </p:cNvPr>
          <p:cNvSpPr txBox="1"/>
          <p:nvPr/>
        </p:nvSpPr>
        <p:spPr>
          <a:xfrm>
            <a:off x="7601194" y="8491131"/>
            <a:ext cx="9492590" cy="823687"/>
          </a:xfrm>
          <a:prstGeom prst="rect">
            <a:avLst/>
          </a:prstGeom>
          <a:noFill/>
        </p:spPr>
        <p:txBody>
          <a:bodyPr wrap="square">
            <a:spAutoFit/>
          </a:bodyPr>
          <a:lstStyle/>
          <a:p>
            <a:r>
              <a:rPr lang="es-PE" sz="1584" dirty="0"/>
              <a:t>*/ P.D. indica fecha de inicio por definir. </a:t>
            </a:r>
          </a:p>
          <a:p>
            <a:r>
              <a:rPr lang="es-MX" sz="1584" dirty="0"/>
              <a:t>Fuente: IPE (2023). El impacto económico de los conflictos sociales y la tramitología en la minería.                            Curso de Especialización en el Sector Minero, SNMPE 2024 </a:t>
            </a:r>
            <a:endParaRPr lang="es-PE" sz="1584" dirty="0"/>
          </a:p>
        </p:txBody>
      </p:sp>
    </p:spTree>
    <p:extLst>
      <p:ext uri="{BB962C8B-B14F-4D97-AF65-F5344CB8AC3E}">
        <p14:creationId xmlns:p14="http://schemas.microsoft.com/office/powerpoint/2010/main" val="1599416841"/>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536085" y="106907"/>
            <a:ext cx="15136128"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ES" sz="4031" b="1" dirty="0">
                <a:latin typeface="Verdana" panose="020B0604030504040204" pitchFamily="34" charset="0"/>
                <a:ea typeface="Verdana" panose="020B0604030504040204" pitchFamily="34" charset="0"/>
              </a:rPr>
              <a:t>Multiplicador económico de la minería IPE </a:t>
            </a:r>
            <a:endParaRPr lang="en-US" sz="4031" b="1" dirty="0">
              <a:latin typeface="Verdana" panose="020B0604030504040204" pitchFamily="34" charset="0"/>
              <a:ea typeface="Verdana" panose="020B0604030504040204" pitchFamily="34" charset="0"/>
            </a:endParaRPr>
          </a:p>
        </p:txBody>
      </p:sp>
      <p:sp>
        <p:nvSpPr>
          <p:cNvPr id="3" name="Marcador de texto 8">
            <a:extLst>
              <a:ext uri="{FF2B5EF4-FFF2-40B4-BE49-F238E27FC236}">
                <a16:creationId xmlns:a16="http://schemas.microsoft.com/office/drawing/2014/main" id="{A080E81D-E221-238F-D337-0E12CA61E067}"/>
              </a:ext>
            </a:extLst>
          </p:cNvPr>
          <p:cNvSpPr txBox="1">
            <a:spLocks/>
          </p:cNvSpPr>
          <p:nvPr/>
        </p:nvSpPr>
        <p:spPr>
          <a:xfrm>
            <a:off x="672306" y="8955009"/>
            <a:ext cx="10643297" cy="69809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MX" sz="1536" dirty="0">
                <a:solidFill>
                  <a:srgbClr val="3D5163"/>
                </a:solidFill>
              </a:rPr>
              <a:t>Fuente: Elaboración IPE. </a:t>
            </a:r>
          </a:p>
        </p:txBody>
      </p:sp>
      <p:pic>
        <p:nvPicPr>
          <p:cNvPr id="47" name="Imagen 46">
            <a:extLst>
              <a:ext uri="{FF2B5EF4-FFF2-40B4-BE49-F238E27FC236}">
                <a16:creationId xmlns:a16="http://schemas.microsoft.com/office/drawing/2014/main" id="{54177FC3-4646-4691-24D2-395CFBFA22D0}"/>
              </a:ext>
            </a:extLst>
          </p:cNvPr>
          <p:cNvPicPr>
            <a:picLocks noChangeAspect="1"/>
          </p:cNvPicPr>
          <p:nvPr/>
        </p:nvPicPr>
        <p:blipFill>
          <a:blip r:embed="rId4"/>
          <a:stretch>
            <a:fillRect/>
          </a:stretch>
        </p:blipFill>
        <p:spPr>
          <a:xfrm>
            <a:off x="758501" y="1872874"/>
            <a:ext cx="15960483" cy="6874841"/>
          </a:xfrm>
          <a:prstGeom prst="rect">
            <a:avLst/>
          </a:prstGeom>
        </p:spPr>
      </p:pic>
    </p:spTree>
    <p:extLst>
      <p:ext uri="{BB962C8B-B14F-4D97-AF65-F5344CB8AC3E}">
        <p14:creationId xmlns:p14="http://schemas.microsoft.com/office/powerpoint/2010/main" val="1369609362"/>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Imagem 3" descr="Montanha de pedras  Descrição gerada automaticamente">
            <a:extLst>
              <a:ext uri="{FF2B5EF4-FFF2-40B4-BE49-F238E27FC236}">
                <a16:creationId xmlns:a16="http://schemas.microsoft.com/office/drawing/2014/main" id="{76EC3988-45B5-8691-2DE8-15AFFB1EAF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0"/>
            <a:ext cx="17554575" cy="987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aixaDeTexto 2">
            <a:extLst>
              <a:ext uri="{FF2B5EF4-FFF2-40B4-BE49-F238E27FC236}">
                <a16:creationId xmlns:a16="http://schemas.microsoft.com/office/drawing/2014/main" id="{132A93AE-BC3D-3DCD-BE99-18C624266196}"/>
              </a:ext>
            </a:extLst>
          </p:cNvPr>
          <p:cNvSpPr txBox="1">
            <a:spLocks noChangeArrowheads="1"/>
          </p:cNvSpPr>
          <p:nvPr/>
        </p:nvSpPr>
        <p:spPr bwMode="auto">
          <a:xfrm>
            <a:off x="1995488" y="5803900"/>
            <a:ext cx="51720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spcAft>
                <a:spcPts val="2400"/>
              </a:spcAft>
            </a:pPr>
            <a:r>
              <a:rPr lang="en-US" altLang="en-US" sz="2100" dirty="0" err="1">
                <a:solidFill>
                  <a:schemeClr val="bg1"/>
                </a:solidFill>
                <a:latin typeface="Votorantim Sans" panose="020B0604020202020204" charset="0"/>
              </a:rPr>
              <a:t>Minería</a:t>
            </a:r>
            <a:r>
              <a:rPr lang="en-US" altLang="en-US" sz="2100" dirty="0">
                <a:solidFill>
                  <a:schemeClr val="bg1"/>
                </a:solidFill>
                <a:latin typeface="Votorantim Sans" panose="020B0604020202020204" charset="0"/>
              </a:rPr>
              <a:t> que se </a:t>
            </a:r>
            <a:r>
              <a:rPr lang="en-US" altLang="en-US" sz="2100" dirty="0" err="1">
                <a:solidFill>
                  <a:schemeClr val="bg1"/>
                </a:solidFill>
                <a:latin typeface="Votorantim Sans" panose="020B0604020202020204" charset="0"/>
              </a:rPr>
              <a:t>mueve</a:t>
            </a:r>
            <a:r>
              <a:rPr lang="en-US" altLang="en-US" sz="2100" dirty="0">
                <a:solidFill>
                  <a:schemeClr val="bg1"/>
                </a:solidFill>
                <a:latin typeface="Votorantim Sans" panose="020B0604020202020204" charset="0"/>
              </a:rPr>
              <a:t> con </a:t>
            </a:r>
            <a:r>
              <a:rPr lang="en-US" altLang="en-US" sz="2100" dirty="0" err="1">
                <a:solidFill>
                  <a:schemeClr val="bg1"/>
                </a:solidFill>
                <a:latin typeface="Votorantim Sans" panose="020B0604020202020204" charset="0"/>
              </a:rPr>
              <a:t>el</a:t>
            </a:r>
            <a:r>
              <a:rPr lang="en-US" altLang="en-US" sz="2100" dirty="0">
                <a:solidFill>
                  <a:schemeClr val="bg1"/>
                </a:solidFill>
                <a:latin typeface="Votorantim Sans" panose="020B0604020202020204" charset="0"/>
              </a:rPr>
              <a:t> </a:t>
            </a:r>
            <a:r>
              <a:rPr lang="en-US" altLang="en-US" sz="2100" dirty="0" err="1">
                <a:solidFill>
                  <a:schemeClr val="bg1"/>
                </a:solidFill>
                <a:latin typeface="Votorantim Sans" panose="020B0604020202020204" charset="0"/>
              </a:rPr>
              <a:t>mundo</a:t>
            </a:r>
            <a:endParaRPr lang="en-US" altLang="en-US" sz="2100" dirty="0">
              <a:solidFill>
                <a:schemeClr val="bg1"/>
              </a:solidFill>
              <a:latin typeface="Votorantim Sans" panose="020B0604020202020204" charset="0"/>
            </a:endParaRPr>
          </a:p>
        </p:txBody>
      </p:sp>
      <p:pic>
        <p:nvPicPr>
          <p:cNvPr id="9" name="Gráfico 8">
            <a:extLst>
              <a:ext uri="{FF2B5EF4-FFF2-40B4-BE49-F238E27FC236}">
                <a16:creationId xmlns:a16="http://schemas.microsoft.com/office/drawing/2014/main" id="{9BD587AE-0B05-C8D7-89A5-B2A089D294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5663" y="4335463"/>
            <a:ext cx="432435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Agrupar 7">
            <a:extLst>
              <a:ext uri="{FF2B5EF4-FFF2-40B4-BE49-F238E27FC236}">
                <a16:creationId xmlns:a16="http://schemas.microsoft.com/office/drawing/2014/main" id="{AB7CB259-D379-D778-1463-21C8C622DF34}"/>
              </a:ext>
            </a:extLst>
          </p:cNvPr>
          <p:cNvGrpSpPr>
            <a:grpSpLocks/>
          </p:cNvGrpSpPr>
          <p:nvPr/>
        </p:nvGrpSpPr>
        <p:grpSpPr bwMode="auto">
          <a:xfrm>
            <a:off x="2016125" y="6848475"/>
            <a:ext cx="18027650" cy="4246563"/>
            <a:chOff x="2121165" y="5089250"/>
            <a:chExt cx="16280484" cy="3835400"/>
          </a:xfrm>
        </p:grpSpPr>
        <p:pic>
          <p:nvPicPr>
            <p:cNvPr id="4104" name="Graphic 7">
              <a:extLst>
                <a:ext uri="{FF2B5EF4-FFF2-40B4-BE49-F238E27FC236}">
                  <a16:creationId xmlns:a16="http://schemas.microsoft.com/office/drawing/2014/main" id="{C8C5E4C0-F839-42D3-962F-C5C8D33AFF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2121165" y="5089250"/>
              <a:ext cx="3835004" cy="383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5" name="Graphic 10">
              <a:extLst>
                <a:ext uri="{FF2B5EF4-FFF2-40B4-BE49-F238E27FC236}">
                  <a16:creationId xmlns:a16="http://schemas.microsoft.com/office/drawing/2014/main" id="{F53F87EC-FD08-3EB5-75CA-C69DBB44AA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8602" y="5599681"/>
              <a:ext cx="4493047" cy="317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 name="Graphic 12">
            <a:extLst>
              <a:ext uri="{FF2B5EF4-FFF2-40B4-BE49-F238E27FC236}">
                <a16:creationId xmlns:a16="http://schemas.microsoft.com/office/drawing/2014/main" id="{3C26FA46-6673-1E63-1C45-4E5D8A1605F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7631" b="76688"/>
          <a:stretch>
            <a:fillRect/>
          </a:stretch>
        </p:blipFill>
        <p:spPr bwMode="auto">
          <a:xfrm>
            <a:off x="-2033588" y="5913438"/>
            <a:ext cx="3990976" cy="27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phic 4">
            <a:extLst>
              <a:ext uri="{FF2B5EF4-FFF2-40B4-BE49-F238E27FC236}">
                <a16:creationId xmlns:a16="http://schemas.microsoft.com/office/drawing/2014/main" id="{6F8B7567-5167-BB6A-1612-58358949AA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95488" y="-2646363"/>
            <a:ext cx="2144712" cy="4165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par>
                                <p:cTn id="8" presetID="42" presetClass="path" presetSubtype="0" accel="50000" decel="50000" fill="hold" nodeType="withEffect">
                                  <p:stCondLst>
                                    <p:cond delay="0"/>
                                  </p:stCondLst>
                                  <p:childTnLst>
                                    <p:animMotion origin="layout" path="M -3.38156E-6 -0.07187 L -3.38156E-6 3.7299E-6 " pathEditMode="relative" rAng="0" ptsTypes="AA">
                                      <p:cBhvr>
                                        <p:cTn id="9" dur="1500" fill="hold"/>
                                        <p:tgtEl>
                                          <p:spTgt spid="9"/>
                                        </p:tgtEl>
                                        <p:attrNameLst>
                                          <p:attrName>ppt_x</p:attrName>
                                          <p:attrName>ppt_y</p:attrName>
                                        </p:attrNameLst>
                                      </p:cBhvr>
                                      <p:rCtr x="0" y="3585"/>
                                    </p:animMotion>
                                  </p:childTnLst>
                                </p:cTn>
                              </p:par>
                              <p:par>
                                <p:cTn id="10" presetID="2" presetClass="entr" presetSubtype="8" decel="10000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1000" fill="hold"/>
                                        <p:tgtEl>
                                          <p:spTgt spid="10"/>
                                        </p:tgtEl>
                                        <p:attrNameLst>
                                          <p:attrName>ppt_x</p:attrName>
                                        </p:attrNameLst>
                                      </p:cBhvr>
                                      <p:tavLst>
                                        <p:tav tm="0">
                                          <p:val>
                                            <p:strVal val="0-#ppt_w/2"/>
                                          </p:val>
                                        </p:tav>
                                        <p:tav tm="100000">
                                          <p:val>
                                            <p:strVal val="#ppt_x"/>
                                          </p:val>
                                        </p:tav>
                                      </p:tavLst>
                                    </p:anim>
                                    <p:anim calcmode="lin" valueType="num">
                                      <p:cBhvr additive="base">
                                        <p:cTn id="13" dur="1000" fill="hold"/>
                                        <p:tgtEl>
                                          <p:spTgt spid="10"/>
                                        </p:tgtEl>
                                        <p:attrNameLst>
                                          <p:attrName>ppt_y</p:attrName>
                                        </p:attrNameLst>
                                      </p:cBhvr>
                                      <p:tavLst>
                                        <p:tav tm="0">
                                          <p:val>
                                            <p:strVal val="#ppt_y"/>
                                          </p:val>
                                        </p:tav>
                                        <p:tav tm="100000">
                                          <p:val>
                                            <p:strVal val="#ppt_y"/>
                                          </p:val>
                                        </p:tav>
                                      </p:tavLst>
                                    </p:anim>
                                  </p:childTnLst>
                                </p:cTn>
                              </p:par>
                              <p:par>
                                <p:cTn id="14" presetID="10" presetClass="entr" presetSubtype="0" fill="hold" grpId="0" nodeType="withEffect">
                                  <p:stCondLst>
                                    <p:cond delay="750"/>
                                  </p:stCondLst>
                                  <p:iterate type="lt">
                                    <p:tmPct val="10000"/>
                                  </p:iterate>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22" presetClass="entr" presetSubtype="4" fill="hold" nodeType="withEffect">
                                  <p:stCondLst>
                                    <p:cond delay="750"/>
                                  </p:stCondLst>
                                  <p:childTnLst>
                                    <p:set>
                                      <p:cBhvr>
                                        <p:cTn id="18" dur="1" fill="hold">
                                          <p:stCondLst>
                                            <p:cond delay="0"/>
                                          </p:stCondLst>
                                        </p:cTn>
                                        <p:tgtEl>
                                          <p:spTgt spid="8"/>
                                        </p:tgtEl>
                                        <p:attrNameLst>
                                          <p:attrName>style.visibility</p:attrName>
                                        </p:attrNameLst>
                                      </p:cBhvr>
                                      <p:to>
                                        <p:strVal val="visible"/>
                                      </p:to>
                                    </p:set>
                                    <p:animEffect transition="in" filter="wipe(down)">
                                      <p:cBhvr>
                                        <p:cTn id="19" dur="1000"/>
                                        <p:tgtEl>
                                          <p:spTgt spid="8"/>
                                        </p:tgtEl>
                                      </p:cBhvr>
                                    </p:animEffect>
                                  </p:childTnLst>
                                </p:cTn>
                              </p:par>
                              <p:par>
                                <p:cTn id="20" presetID="22" presetClass="entr" presetSubtype="4" fill="hold" nodeType="withEffect">
                                  <p:stCondLst>
                                    <p:cond delay="1750"/>
                                  </p:stCondLst>
                                  <p:childTnLst>
                                    <p:set>
                                      <p:cBhvr>
                                        <p:cTn id="21" dur="1" fill="hold">
                                          <p:stCondLst>
                                            <p:cond delay="0"/>
                                          </p:stCondLst>
                                        </p:cTn>
                                        <p:tgtEl>
                                          <p:spTgt spid="12"/>
                                        </p:tgtEl>
                                        <p:attrNameLst>
                                          <p:attrName>style.visibility</p:attrName>
                                        </p:attrNameLst>
                                      </p:cBhvr>
                                      <p:to>
                                        <p:strVal val="visible"/>
                                      </p:to>
                                    </p:set>
                                    <p:animEffect transition="in" filter="wipe(down)">
                                      <p:cBhvr>
                                        <p:cTn id="22"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536085" y="106907"/>
            <a:ext cx="15136128"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ES" sz="4031" b="1" dirty="0">
                <a:latin typeface="Verdana" panose="020B0604030504040204" pitchFamily="34" charset="0"/>
                <a:ea typeface="Verdana" panose="020B0604030504040204" pitchFamily="34" charset="0"/>
              </a:rPr>
              <a:t>Costo de la no ejecución de Proyectos IPE</a:t>
            </a:r>
            <a:endParaRPr lang="en-US" sz="4031" b="1" dirty="0">
              <a:latin typeface="Verdana" panose="020B0604030504040204" pitchFamily="34" charset="0"/>
              <a:ea typeface="Verdana" panose="020B0604030504040204" pitchFamily="34" charset="0"/>
            </a:endParaRPr>
          </a:p>
        </p:txBody>
      </p:sp>
      <p:sp>
        <p:nvSpPr>
          <p:cNvPr id="3" name="Marcador de texto 8">
            <a:extLst>
              <a:ext uri="{FF2B5EF4-FFF2-40B4-BE49-F238E27FC236}">
                <a16:creationId xmlns:a16="http://schemas.microsoft.com/office/drawing/2014/main" id="{A080E81D-E221-238F-D337-0E12CA61E067}"/>
              </a:ext>
            </a:extLst>
          </p:cNvPr>
          <p:cNvSpPr txBox="1">
            <a:spLocks/>
          </p:cNvSpPr>
          <p:nvPr/>
        </p:nvSpPr>
        <p:spPr>
          <a:xfrm>
            <a:off x="672306" y="8885731"/>
            <a:ext cx="10643297" cy="69809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MX" sz="1536" dirty="0">
                <a:solidFill>
                  <a:srgbClr val="3D5163"/>
                </a:solidFill>
              </a:rPr>
              <a:t>Elaboración IPE. Al 2023.</a:t>
            </a:r>
          </a:p>
        </p:txBody>
      </p:sp>
      <p:pic>
        <p:nvPicPr>
          <p:cNvPr id="45" name="Imagen 44">
            <a:extLst>
              <a:ext uri="{FF2B5EF4-FFF2-40B4-BE49-F238E27FC236}">
                <a16:creationId xmlns:a16="http://schemas.microsoft.com/office/drawing/2014/main" id="{089BAC64-4DF1-F89E-9E36-C3864B33E8A6}"/>
              </a:ext>
            </a:extLst>
          </p:cNvPr>
          <p:cNvPicPr>
            <a:picLocks noChangeAspect="1"/>
          </p:cNvPicPr>
          <p:nvPr/>
        </p:nvPicPr>
        <p:blipFill>
          <a:blip r:embed="rId4"/>
          <a:stretch>
            <a:fillRect/>
          </a:stretch>
        </p:blipFill>
        <p:spPr>
          <a:xfrm>
            <a:off x="969034" y="1845030"/>
            <a:ext cx="15237502" cy="6652377"/>
          </a:xfrm>
          <a:prstGeom prst="rect">
            <a:avLst/>
          </a:prstGeom>
        </p:spPr>
      </p:pic>
    </p:spTree>
    <p:extLst>
      <p:ext uri="{BB962C8B-B14F-4D97-AF65-F5344CB8AC3E}">
        <p14:creationId xmlns:p14="http://schemas.microsoft.com/office/powerpoint/2010/main" val="3074883926"/>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68612"/>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latin typeface="Verdana" panose="020B0604030504040204" pitchFamily="34" charset="0"/>
              <a:ea typeface="Verdana" panose="020B0604030504040204" pitchFamily="34" charset="0"/>
            </a:endParaRPr>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536085" y="259309"/>
            <a:ext cx="12754316"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ES" sz="4031" b="1" dirty="0">
                <a:latin typeface="Verdana" panose="020B0604030504040204" pitchFamily="34" charset="0"/>
                <a:ea typeface="Verdana" panose="020B0604030504040204" pitchFamily="34" charset="0"/>
              </a:rPr>
              <a:t>¿Qué hubiera pasado de haberse ejecutado los Proyectos*?</a:t>
            </a:r>
            <a:endParaRPr lang="en-US" sz="4031" b="1" dirty="0">
              <a:latin typeface="Verdana" panose="020B0604030504040204" pitchFamily="34" charset="0"/>
              <a:ea typeface="Verdana" panose="020B0604030504040204" pitchFamily="34" charset="0"/>
            </a:endParaRPr>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23" name="Imagen 22" descr="Icono&#10;&#10;Descripción generada automáticamente">
            <a:extLst>
              <a:ext uri="{FF2B5EF4-FFF2-40B4-BE49-F238E27FC236}">
                <a16:creationId xmlns:a16="http://schemas.microsoft.com/office/drawing/2014/main" id="{076FFD74-7BA0-4A5D-9381-DB0298D0CE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6200000" flipH="1">
            <a:off x="12851022" y="-1071460"/>
            <a:ext cx="4704964" cy="4704964"/>
          </a:xfrm>
          <a:prstGeom prst="rect">
            <a:avLst/>
          </a:prstGeom>
        </p:spPr>
      </p:pic>
      <p:pic>
        <p:nvPicPr>
          <p:cNvPr id="27" name="Imagen 26" descr="Forma&#10;&#10;Descripción generada automáticamente">
            <a:extLst>
              <a:ext uri="{FF2B5EF4-FFF2-40B4-BE49-F238E27FC236}">
                <a16:creationId xmlns:a16="http://schemas.microsoft.com/office/drawing/2014/main" id="{C37C574C-B589-4BC2-8C33-3D3A79CC4DC6}"/>
              </a:ext>
            </a:extLst>
          </p:cNvPr>
          <p:cNvPicPr>
            <a:picLocks noChangeAspect="1"/>
          </p:cNvPicPr>
          <p:nvPr/>
        </p:nvPicPr>
        <p:blipFill rotWithShape="1">
          <a:blip r:embed="rId5">
            <a:extLst>
              <a:ext uri="{28A0092B-C50C-407E-A947-70E740481C1C}">
                <a14:useLocalDpi xmlns:a14="http://schemas.microsoft.com/office/drawing/2010/main" val="0"/>
              </a:ext>
            </a:extLst>
          </a:blip>
          <a:srcRect r="5129" b="71624"/>
          <a:stretch/>
        </p:blipFill>
        <p:spPr>
          <a:xfrm>
            <a:off x="11964085" y="8423941"/>
            <a:ext cx="5586709" cy="1449319"/>
          </a:xfrm>
          <a:prstGeom prst="rect">
            <a:avLst/>
          </a:prstGeom>
        </p:spPr>
      </p:pic>
      <p:pic>
        <p:nvPicPr>
          <p:cNvPr id="28" name="Imagen 27" descr="Icono&#10;&#10;Descripción generada automáticamente">
            <a:extLst>
              <a:ext uri="{FF2B5EF4-FFF2-40B4-BE49-F238E27FC236}">
                <a16:creationId xmlns:a16="http://schemas.microsoft.com/office/drawing/2014/main" id="{81A72D0E-288F-4BCE-B367-3EF691C8564D}"/>
              </a:ext>
            </a:extLst>
          </p:cNvPr>
          <p:cNvPicPr>
            <a:picLocks noChangeAspect="1"/>
          </p:cNvPicPr>
          <p:nvPr/>
        </p:nvPicPr>
        <p:blipFill rotWithShape="1">
          <a:blip r:embed="rId6">
            <a:extLst>
              <a:ext uri="{28A0092B-C50C-407E-A947-70E740481C1C}">
                <a14:useLocalDpi xmlns:a14="http://schemas.microsoft.com/office/drawing/2010/main" val="0"/>
              </a:ext>
            </a:extLst>
          </a:blip>
          <a:srcRect b="50000"/>
          <a:stretch/>
        </p:blipFill>
        <p:spPr>
          <a:xfrm flipH="1">
            <a:off x="1762" y="4908532"/>
            <a:ext cx="5467406" cy="4789272"/>
          </a:xfrm>
          <a:prstGeom prst="rect">
            <a:avLst/>
          </a:prstGeom>
        </p:spPr>
      </p:pic>
      <p:grpSp>
        <p:nvGrpSpPr>
          <p:cNvPr id="6" name="Grupo 5">
            <a:extLst>
              <a:ext uri="{FF2B5EF4-FFF2-40B4-BE49-F238E27FC236}">
                <a16:creationId xmlns:a16="http://schemas.microsoft.com/office/drawing/2014/main" id="{4ADBA1C5-5CBC-4204-931D-7620650C3C9C}"/>
              </a:ext>
            </a:extLst>
          </p:cNvPr>
          <p:cNvGrpSpPr/>
          <p:nvPr/>
        </p:nvGrpSpPr>
        <p:grpSpPr>
          <a:xfrm>
            <a:off x="604073" y="3564229"/>
            <a:ext cx="16349604" cy="3877577"/>
            <a:chOff x="477804" y="2454456"/>
            <a:chExt cx="11355352" cy="2693108"/>
          </a:xfrm>
        </p:grpSpPr>
        <p:sp>
          <p:nvSpPr>
            <p:cNvPr id="5" name="Rectángulo: esquinas redondeadas 4">
              <a:extLst>
                <a:ext uri="{FF2B5EF4-FFF2-40B4-BE49-F238E27FC236}">
                  <a16:creationId xmlns:a16="http://schemas.microsoft.com/office/drawing/2014/main" id="{5BB36973-E2A3-464E-A10B-7A795531A3A2}"/>
                </a:ext>
              </a:extLst>
            </p:cNvPr>
            <p:cNvSpPr/>
            <p:nvPr/>
          </p:nvSpPr>
          <p:spPr>
            <a:xfrm>
              <a:off x="477804" y="2454456"/>
              <a:ext cx="2684398" cy="2665951"/>
            </a:xfrm>
            <a:prstGeom prst="round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2400" b="1" dirty="0">
                  <a:latin typeface="Verdana" panose="020B0604030504040204" pitchFamily="34" charset="0"/>
                  <a:ea typeface="Verdana" panose="020B0604030504040204" pitchFamily="34" charset="0"/>
                </a:rPr>
                <a:t>PBI</a:t>
              </a:r>
            </a:p>
            <a:p>
              <a:pPr algn="ctr"/>
              <a:r>
                <a:rPr lang="es-PE" sz="1600" b="1" dirty="0">
                  <a:latin typeface="Verdana" panose="020B0604030504040204" pitchFamily="34" charset="0"/>
                  <a:ea typeface="Verdana" panose="020B0604030504040204" pitchFamily="34" charset="0"/>
                </a:rPr>
                <a:t>Podría haber crecido en promedio 4.7% anual  </a:t>
              </a:r>
            </a:p>
            <a:p>
              <a:pPr algn="ctr"/>
              <a:endParaRPr lang="es-PE" dirty="0">
                <a:latin typeface="Verdana" panose="020B0604030504040204" pitchFamily="34" charset="0"/>
                <a:ea typeface="Verdana" panose="020B0604030504040204" pitchFamily="34" charset="0"/>
              </a:endParaRPr>
            </a:p>
          </p:txBody>
        </p:sp>
        <p:sp>
          <p:nvSpPr>
            <p:cNvPr id="24" name="Rectángulo: esquinas redondeadas 23">
              <a:extLst>
                <a:ext uri="{FF2B5EF4-FFF2-40B4-BE49-F238E27FC236}">
                  <a16:creationId xmlns:a16="http://schemas.microsoft.com/office/drawing/2014/main" id="{EDA7EA4B-5F51-4928-B584-9C1253176231}"/>
                </a:ext>
              </a:extLst>
            </p:cNvPr>
            <p:cNvSpPr/>
            <p:nvPr/>
          </p:nvSpPr>
          <p:spPr>
            <a:xfrm>
              <a:off x="3334536" y="2454456"/>
              <a:ext cx="2684398" cy="2665951"/>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2200" b="1" dirty="0">
                  <a:solidFill>
                    <a:schemeClr val="tx1"/>
                  </a:solidFill>
                  <a:latin typeface="Verdana" panose="020B0604030504040204" pitchFamily="34" charset="0"/>
                  <a:ea typeface="Verdana" panose="020B0604030504040204" pitchFamily="34" charset="0"/>
                </a:rPr>
                <a:t>Pobreza</a:t>
              </a:r>
              <a:endParaRPr lang="es-PE" sz="2200" dirty="0">
                <a:solidFill>
                  <a:schemeClr val="tx1"/>
                </a:solidFill>
                <a:latin typeface="Verdana" panose="020B0604030504040204" pitchFamily="34" charset="0"/>
                <a:ea typeface="Verdana" panose="020B0604030504040204" pitchFamily="34" charset="0"/>
              </a:endParaRPr>
            </a:p>
            <a:p>
              <a:pPr algn="ctr"/>
              <a:r>
                <a:rPr lang="es-PE" dirty="0">
                  <a:solidFill>
                    <a:schemeClr val="tx1"/>
                  </a:solidFill>
                  <a:latin typeface="Verdana" panose="020B0604030504040204" pitchFamily="34" charset="0"/>
                  <a:ea typeface="Verdana" panose="020B0604030504040204" pitchFamily="34" charset="0"/>
                </a:rPr>
                <a:t>Reducción en 5 puntos porcentuales</a:t>
              </a:r>
            </a:p>
          </p:txBody>
        </p:sp>
        <p:sp>
          <p:nvSpPr>
            <p:cNvPr id="25" name="Rectángulo: esquinas redondeadas 24">
              <a:extLst>
                <a:ext uri="{FF2B5EF4-FFF2-40B4-BE49-F238E27FC236}">
                  <a16:creationId xmlns:a16="http://schemas.microsoft.com/office/drawing/2014/main" id="{B88C79F5-D5FC-44B4-8E4A-813FB5FD6C56}"/>
                </a:ext>
              </a:extLst>
            </p:cNvPr>
            <p:cNvSpPr/>
            <p:nvPr/>
          </p:nvSpPr>
          <p:spPr>
            <a:xfrm>
              <a:off x="6258156" y="2481613"/>
              <a:ext cx="2684398" cy="2665951"/>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2200" b="1" dirty="0">
                  <a:solidFill>
                    <a:schemeClr val="tx1"/>
                  </a:solidFill>
                  <a:latin typeface="Verdana" panose="020B0604030504040204" pitchFamily="34" charset="0"/>
                  <a:ea typeface="Verdana" panose="020B0604030504040204" pitchFamily="34" charset="0"/>
                </a:rPr>
                <a:t>Recaudación</a:t>
              </a:r>
            </a:p>
            <a:p>
              <a:pPr algn="ctr"/>
              <a:endParaRPr lang="es-PE" sz="2200" b="1" dirty="0">
                <a:solidFill>
                  <a:schemeClr val="tx1"/>
                </a:solidFill>
                <a:latin typeface="Verdana" panose="020B0604030504040204" pitchFamily="34" charset="0"/>
                <a:ea typeface="Verdana" panose="020B0604030504040204" pitchFamily="34" charset="0"/>
              </a:endParaRPr>
            </a:p>
            <a:p>
              <a:pPr algn="ctr"/>
              <a:r>
                <a:rPr lang="es-MX" dirty="0">
                  <a:solidFill>
                    <a:schemeClr val="tx1"/>
                  </a:solidFill>
                  <a:latin typeface="Verdana" panose="020B0604030504040204" pitchFamily="34" charset="0"/>
                  <a:ea typeface="Verdana" panose="020B0604030504040204" pitchFamily="34" charset="0"/>
                </a:rPr>
                <a:t>Entre el 2008 y 2022, se dejó de recaudar S/ 123 mil millones en ingresos fiscales</a:t>
              </a:r>
              <a:endParaRPr lang="es-PE" dirty="0">
                <a:solidFill>
                  <a:schemeClr val="tx1"/>
                </a:solidFill>
                <a:latin typeface="Verdana" panose="020B0604030504040204" pitchFamily="34" charset="0"/>
                <a:ea typeface="Verdana" panose="020B0604030504040204" pitchFamily="34" charset="0"/>
              </a:endParaRPr>
            </a:p>
          </p:txBody>
        </p:sp>
        <p:sp>
          <p:nvSpPr>
            <p:cNvPr id="26" name="Rectángulo: esquinas redondeadas 25">
              <a:extLst>
                <a:ext uri="{FF2B5EF4-FFF2-40B4-BE49-F238E27FC236}">
                  <a16:creationId xmlns:a16="http://schemas.microsoft.com/office/drawing/2014/main" id="{809A40A1-5C82-43B7-BD10-6662F9ED2F75}"/>
                </a:ext>
              </a:extLst>
            </p:cNvPr>
            <p:cNvSpPr/>
            <p:nvPr/>
          </p:nvSpPr>
          <p:spPr>
            <a:xfrm>
              <a:off x="9148758" y="2481613"/>
              <a:ext cx="2684398" cy="2665951"/>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b="1" dirty="0">
                <a:solidFill>
                  <a:schemeClr val="bg1"/>
                </a:solidFill>
                <a:latin typeface="Verdana" panose="020B0604030504040204" pitchFamily="34" charset="0"/>
                <a:ea typeface="Verdana" panose="020B0604030504040204" pitchFamily="34" charset="0"/>
              </a:endParaRPr>
            </a:p>
            <a:p>
              <a:pPr algn="ctr"/>
              <a:r>
                <a:rPr lang="es-PE" sz="2200" b="1" dirty="0">
                  <a:solidFill>
                    <a:schemeClr val="bg1"/>
                  </a:solidFill>
                  <a:latin typeface="Verdana" panose="020B0604030504040204" pitchFamily="34" charset="0"/>
                  <a:ea typeface="Verdana" panose="020B0604030504040204" pitchFamily="34" charset="0"/>
                </a:rPr>
                <a:t>Empleo</a:t>
              </a:r>
            </a:p>
            <a:p>
              <a:pPr algn="ctr"/>
              <a:endParaRPr lang="es-MX" dirty="0">
                <a:solidFill>
                  <a:schemeClr val="tx1"/>
                </a:solidFill>
                <a:latin typeface="Verdana" panose="020B0604030504040204" pitchFamily="34" charset="0"/>
                <a:ea typeface="Verdana" panose="020B0604030504040204" pitchFamily="34" charset="0"/>
              </a:endParaRPr>
            </a:p>
            <a:p>
              <a:pPr algn="ctr"/>
              <a:r>
                <a:rPr lang="es-MX" dirty="0">
                  <a:solidFill>
                    <a:schemeClr val="tx1"/>
                  </a:solidFill>
                  <a:latin typeface="Verdana" panose="020B0604030504040204" pitchFamily="34" charset="0"/>
                  <a:ea typeface="Verdana" panose="020B0604030504040204" pitchFamily="34" charset="0"/>
                </a:rPr>
                <a:t>Se dejó de generar anualmente hasta 125 mil empleos en fase de inversión y hasta 541 mil empleos en fase de producción</a:t>
              </a:r>
              <a:endParaRPr lang="es-PE" dirty="0">
                <a:solidFill>
                  <a:schemeClr val="tx1"/>
                </a:solidFill>
                <a:latin typeface="Verdana" panose="020B0604030504040204" pitchFamily="34" charset="0"/>
                <a:ea typeface="Verdana" panose="020B0604030504040204" pitchFamily="34" charset="0"/>
              </a:endParaRPr>
            </a:p>
          </p:txBody>
        </p:sp>
      </p:grpSp>
      <p:sp>
        <p:nvSpPr>
          <p:cNvPr id="2" name="Marcador de texto 8">
            <a:extLst>
              <a:ext uri="{FF2B5EF4-FFF2-40B4-BE49-F238E27FC236}">
                <a16:creationId xmlns:a16="http://schemas.microsoft.com/office/drawing/2014/main" id="{2D9529A3-476A-A322-66F4-94566B0AF104}"/>
              </a:ext>
            </a:extLst>
          </p:cNvPr>
          <p:cNvSpPr txBox="1">
            <a:spLocks/>
          </p:cNvSpPr>
          <p:nvPr/>
        </p:nvSpPr>
        <p:spPr>
          <a:xfrm>
            <a:off x="672306" y="8885731"/>
            <a:ext cx="10643297" cy="69809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MX" sz="1536" dirty="0">
                <a:solidFill>
                  <a:srgbClr val="3D5163"/>
                </a:solidFill>
              </a:rPr>
              <a:t>Fuente: IPE con información al 2023.</a:t>
            </a:r>
          </a:p>
        </p:txBody>
      </p:sp>
    </p:spTree>
    <p:extLst>
      <p:ext uri="{BB962C8B-B14F-4D97-AF65-F5344CB8AC3E}">
        <p14:creationId xmlns:p14="http://schemas.microsoft.com/office/powerpoint/2010/main" val="1504615895"/>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o 13">
            <a:extLst>
              <a:ext uri="{FF2B5EF4-FFF2-40B4-BE49-F238E27FC236}">
                <a16:creationId xmlns:a16="http://schemas.microsoft.com/office/drawing/2014/main" id="{FEB6376B-0D61-2E1B-88D6-5A305372B4F9}"/>
              </a:ext>
            </a:extLst>
          </p:cNvPr>
          <p:cNvGrpSpPr/>
          <p:nvPr/>
        </p:nvGrpSpPr>
        <p:grpSpPr>
          <a:xfrm>
            <a:off x="0" y="0"/>
            <a:ext cx="17644937" cy="9968829"/>
            <a:chOff x="688" y="830802"/>
            <a:chExt cx="6873125" cy="3883097"/>
          </a:xfrm>
        </p:grpSpPr>
        <p:pic>
          <p:nvPicPr>
            <p:cNvPr id="2" name="Picture 45">
              <a:extLst>
                <a:ext uri="{FF2B5EF4-FFF2-40B4-BE49-F238E27FC236}">
                  <a16:creationId xmlns:a16="http://schemas.microsoft.com/office/drawing/2014/main" id="{E1D230B2-FB97-E078-DB23-839933E138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8" y="830802"/>
              <a:ext cx="6839163" cy="3847029"/>
            </a:xfrm>
            <a:prstGeom prst="rect">
              <a:avLst/>
            </a:prstGeom>
          </p:spPr>
        </p:pic>
        <p:pic>
          <p:nvPicPr>
            <p:cNvPr id="3" name="Picture 47">
              <a:extLst>
                <a:ext uri="{FF2B5EF4-FFF2-40B4-BE49-F238E27FC236}">
                  <a16:creationId xmlns:a16="http://schemas.microsoft.com/office/drawing/2014/main" id="{70ECB21A-AA0E-5A96-6476-B36ECC95EEB6}"/>
                </a:ext>
              </a:extLst>
            </p:cNvPr>
            <p:cNvPicPr>
              <a:picLocks noChangeAspect="1"/>
            </p:cNvPicPr>
            <p:nvPr/>
          </p:nvPicPr>
          <p:blipFill rotWithShape="1">
            <a:blip r:embed="rId4">
              <a:extLst>
                <a:ext uri="{28A0092B-C50C-407E-A947-70E740481C1C}">
                  <a14:useLocalDpi xmlns:a14="http://schemas.microsoft.com/office/drawing/2010/main" val="0"/>
                </a:ext>
              </a:extLst>
            </a:blip>
            <a:srcRect l="3605" r="31896"/>
            <a:stretch/>
          </p:blipFill>
          <p:spPr>
            <a:xfrm>
              <a:off x="11921" y="866097"/>
              <a:ext cx="4412047" cy="3847802"/>
            </a:xfrm>
            <a:prstGeom prst="rect">
              <a:avLst/>
            </a:prstGeom>
          </p:spPr>
        </p:pic>
        <p:sp>
          <p:nvSpPr>
            <p:cNvPr id="6" name="CuadroTexto 5">
              <a:extLst>
                <a:ext uri="{FF2B5EF4-FFF2-40B4-BE49-F238E27FC236}">
                  <a16:creationId xmlns:a16="http://schemas.microsoft.com/office/drawing/2014/main" id="{FD9313E7-4E12-CF86-046D-D0FE593759F2}"/>
                </a:ext>
              </a:extLst>
            </p:cNvPr>
            <p:cNvSpPr txBox="1"/>
            <p:nvPr/>
          </p:nvSpPr>
          <p:spPr>
            <a:xfrm>
              <a:off x="158842" y="1936989"/>
              <a:ext cx="2387399" cy="1894204"/>
            </a:xfrm>
            <a:prstGeom prst="rect">
              <a:avLst/>
            </a:prstGeom>
            <a:noFill/>
          </p:spPr>
          <p:txBody>
            <a:bodyPr wrap="square">
              <a:spAutoFit/>
            </a:bodyPr>
            <a:lstStyle/>
            <a:p>
              <a:pPr marL="457200" indent="-457200" defTabSz="178125">
                <a:spcAft>
                  <a:spcPts val="600"/>
                </a:spcAft>
                <a:buFont typeface="Wingdings" panose="05000000000000000000" pitchFamily="2" charset="2"/>
                <a:buChar char="Ø"/>
                <a:defRPr/>
              </a:pPr>
              <a:r>
                <a:rPr lang="es-ES" sz="2600" dirty="0">
                  <a:solidFill>
                    <a:schemeClr val="bg1"/>
                  </a:solidFill>
                  <a:latin typeface="Arial" panose="020B0604020202020204" pitchFamily="34" charset="0"/>
                  <a:ea typeface="Verdana" panose="020B0604030504040204" pitchFamily="34" charset="0"/>
                </a:rPr>
                <a:t> </a:t>
              </a:r>
              <a:r>
                <a:rPr lang="es-ES" sz="2800" b="1" dirty="0">
                  <a:solidFill>
                    <a:schemeClr val="bg1"/>
                  </a:solidFill>
                  <a:latin typeface="Arial" panose="020B0604020202020204" pitchFamily="34" charset="0"/>
                  <a:ea typeface="Verdana" panose="020B0604030504040204" pitchFamily="34" charset="0"/>
                </a:rPr>
                <a:t>Cartera de Proyectos</a:t>
              </a: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endParaRPr lang="es-ES" sz="2600" b="1" dirty="0">
                <a:solidFill>
                  <a:schemeClr val="bg1"/>
                </a:solidFill>
                <a:latin typeface="Arial" panose="020B0604020202020204" pitchFamily="34" charset="0"/>
                <a:ea typeface="Verdana" panose="020B0604030504040204" pitchFamily="34" charset="0"/>
              </a:endParaRPr>
            </a:p>
            <a:p>
              <a:pPr defTabSz="178125">
                <a:spcAft>
                  <a:spcPts val="600"/>
                </a:spcAft>
                <a:defRPr/>
              </a:pPr>
              <a:endParaRPr lang="es-ES" sz="26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r>
                <a:rPr lang="es-ES" sz="2800" b="1" dirty="0">
                  <a:solidFill>
                    <a:schemeClr val="bg1"/>
                  </a:solidFill>
                  <a:latin typeface="Arial" panose="020B0604020202020204" pitchFamily="34" charset="0"/>
                  <a:ea typeface="Verdana" panose="020B0604030504040204" pitchFamily="34" charset="0"/>
                </a:rPr>
                <a:t>Costo de no ejecutar los Proyectos</a:t>
              </a:r>
            </a:p>
            <a:p>
              <a:pPr marL="457200" indent="-457200" defTabSz="178125">
                <a:spcAft>
                  <a:spcPts val="600"/>
                </a:spcAft>
                <a:buFont typeface="Wingdings" panose="05000000000000000000" pitchFamily="2" charset="2"/>
                <a:buChar char="Ø"/>
                <a:defRPr/>
              </a:pPr>
              <a:endParaRPr lang="es-ES" sz="2800" b="1" dirty="0">
                <a:solidFill>
                  <a:schemeClr val="bg1"/>
                </a:solidFill>
                <a:latin typeface="Arial" panose="020B0604020202020204" pitchFamily="34" charset="0"/>
                <a:ea typeface="Verdana" panose="020B0604030504040204" pitchFamily="34" charset="0"/>
              </a:endParaRPr>
            </a:p>
            <a:p>
              <a:pPr marL="457200" indent="-457200" defTabSz="178125">
                <a:spcAft>
                  <a:spcPts val="600"/>
                </a:spcAft>
                <a:buFont typeface="Wingdings" panose="05000000000000000000" pitchFamily="2" charset="2"/>
                <a:buChar char="Ø"/>
                <a:defRPr/>
              </a:pPr>
              <a:r>
                <a:rPr lang="es-ES" sz="2800" b="1" dirty="0">
                  <a:solidFill>
                    <a:schemeClr val="bg1"/>
                  </a:solidFill>
                  <a:latin typeface="Arial" panose="020B0604020202020204" pitchFamily="34" charset="0"/>
                  <a:ea typeface="Verdana" panose="020B0604030504040204" pitchFamily="34" charset="0"/>
                </a:rPr>
                <a:t>¿Qué hubiera pasado? </a:t>
              </a:r>
              <a:endParaRPr lang="pt-BR" sz="2800" b="1" dirty="0">
                <a:solidFill>
                  <a:schemeClr val="bg1"/>
                </a:solidFill>
                <a:latin typeface="Arial" panose="020B0604020202020204" pitchFamily="34" charset="0"/>
                <a:ea typeface="Verdana" panose="020B0604030504040204" pitchFamily="34" charset="0"/>
              </a:endParaRPr>
            </a:p>
          </p:txBody>
        </p:sp>
        <p:pic>
          <p:nvPicPr>
            <p:cNvPr id="9" name="Picture 49">
              <a:extLst>
                <a:ext uri="{FF2B5EF4-FFF2-40B4-BE49-F238E27FC236}">
                  <a16:creationId xmlns:a16="http://schemas.microsoft.com/office/drawing/2014/main" id="{130C52E8-AA01-8E03-2E68-828FAA14DC45}"/>
                </a:ext>
              </a:extLst>
            </p:cNvPr>
            <p:cNvPicPr>
              <a:picLocks noChangeAspect="1"/>
            </p:cNvPicPr>
            <p:nvPr/>
          </p:nvPicPr>
          <p:blipFill rotWithShape="1">
            <a:blip r:embed="rId5">
              <a:extLst>
                <a:ext uri="{28A0092B-C50C-407E-A947-70E740481C1C}">
                  <a14:useLocalDpi xmlns:a14="http://schemas.microsoft.com/office/drawing/2010/main" val="0"/>
                </a:ext>
              </a:extLst>
            </a:blip>
            <a:srcRect l="18962" t="5698" r="38840"/>
            <a:stretch/>
          </p:blipFill>
          <p:spPr>
            <a:xfrm>
              <a:off x="1744684" y="939645"/>
              <a:ext cx="2886556" cy="3628570"/>
            </a:xfrm>
            <a:prstGeom prst="rect">
              <a:avLst/>
            </a:prstGeom>
          </p:spPr>
        </p:pic>
        <p:sp>
          <p:nvSpPr>
            <p:cNvPr id="10" name="CuadroTexto 9">
              <a:extLst>
                <a:ext uri="{FF2B5EF4-FFF2-40B4-BE49-F238E27FC236}">
                  <a16:creationId xmlns:a16="http://schemas.microsoft.com/office/drawing/2014/main" id="{FA0987CB-3ADB-E021-195C-08D71160EC3D}"/>
                </a:ext>
              </a:extLst>
            </p:cNvPr>
            <p:cNvSpPr txBox="1"/>
            <p:nvPr/>
          </p:nvSpPr>
          <p:spPr>
            <a:xfrm>
              <a:off x="332493" y="1087903"/>
              <a:ext cx="2491059" cy="227784"/>
            </a:xfrm>
            <a:prstGeom prst="rect">
              <a:avLst/>
            </a:prstGeom>
            <a:noFill/>
          </p:spPr>
          <p:txBody>
            <a:bodyPr wrap="square">
              <a:spAutoFit/>
            </a:bodyPr>
            <a:lstStyle/>
            <a:p>
              <a:pPr defTabSz="178125">
                <a:lnSpc>
                  <a:spcPct val="80000"/>
                </a:lnSpc>
                <a:defRPr/>
              </a:pPr>
              <a:r>
                <a:rPr lang="es-ES" sz="4000" dirty="0">
                  <a:solidFill>
                    <a:prstClr val="white"/>
                  </a:solidFill>
                  <a:latin typeface="Votorantim Sans Black" panose="02010A03030202050203" pitchFamily="2" charset="0"/>
                  <a:ea typeface="ＭＳ Ｐゴシック" panose="020B0600070205080204" pitchFamily="34" charset="-128"/>
                </a:rPr>
                <a:t>Desarrollo de Proyectos</a:t>
              </a:r>
              <a:endParaRPr lang="pt-BR" sz="4000" dirty="0">
                <a:solidFill>
                  <a:prstClr val="white"/>
                </a:solidFill>
                <a:latin typeface="Votorantim Sans Black" panose="02010A03030202050203" pitchFamily="2" charset="0"/>
                <a:ea typeface="ＭＳ Ｐゴシック" panose="020B0600070205080204" pitchFamily="34" charset="-128"/>
              </a:endParaRPr>
            </a:p>
          </p:txBody>
        </p:sp>
        <p:sp>
          <p:nvSpPr>
            <p:cNvPr id="12" name="CuadroTexto 11">
              <a:extLst>
                <a:ext uri="{FF2B5EF4-FFF2-40B4-BE49-F238E27FC236}">
                  <a16:creationId xmlns:a16="http://schemas.microsoft.com/office/drawing/2014/main" id="{88BA5B28-E889-0E15-D45F-4F69A7F5FAE7}"/>
                </a:ext>
              </a:extLst>
            </p:cNvPr>
            <p:cNvSpPr txBox="1"/>
            <p:nvPr/>
          </p:nvSpPr>
          <p:spPr>
            <a:xfrm>
              <a:off x="4384670" y="1827195"/>
              <a:ext cx="2224706" cy="208602"/>
            </a:xfrm>
            <a:prstGeom prst="rect">
              <a:avLst/>
            </a:prstGeom>
            <a:noFill/>
          </p:spPr>
          <p:txBody>
            <a:bodyPr wrap="square">
              <a:spAutoFit/>
            </a:bodyPr>
            <a:lstStyle/>
            <a:p>
              <a:pPr defTabSz="178125">
                <a:lnSpc>
                  <a:spcPct val="80000"/>
                </a:lnSpc>
                <a:defRPr/>
              </a:pPr>
              <a:r>
                <a:rPr lang="es-ES" sz="3600" i="1" dirty="0">
                  <a:solidFill>
                    <a:schemeClr val="accent2"/>
                  </a:solidFill>
                  <a:latin typeface="Votorantim Sans Black" panose="02010A03030202050203" pitchFamily="2" charset="0"/>
                  <a:ea typeface="ＭＳ Ｐゴシック" panose="020B0600070205080204" pitchFamily="34" charset="-128"/>
                </a:rPr>
                <a:t>Desafíos en Permisos</a:t>
              </a:r>
              <a:endParaRPr lang="pt-BR" sz="3600" i="1" dirty="0">
                <a:solidFill>
                  <a:schemeClr val="accent2"/>
                </a:solidFill>
                <a:latin typeface="Votorantim Sans Black" panose="02010A03030202050203" pitchFamily="2" charset="0"/>
                <a:ea typeface="ＭＳ Ｐゴシック" panose="020B0600070205080204" pitchFamily="34" charset="-128"/>
              </a:endParaRPr>
            </a:p>
          </p:txBody>
        </p:sp>
        <p:sp>
          <p:nvSpPr>
            <p:cNvPr id="13" name="CuadroTexto 12">
              <a:extLst>
                <a:ext uri="{FF2B5EF4-FFF2-40B4-BE49-F238E27FC236}">
                  <a16:creationId xmlns:a16="http://schemas.microsoft.com/office/drawing/2014/main" id="{F8000E29-0513-B647-D5DC-36794AE713CD}"/>
                </a:ext>
              </a:extLst>
            </p:cNvPr>
            <p:cNvSpPr txBox="1"/>
            <p:nvPr/>
          </p:nvSpPr>
          <p:spPr>
            <a:xfrm>
              <a:off x="4443147" y="2322108"/>
              <a:ext cx="2430666" cy="875170"/>
            </a:xfrm>
            <a:prstGeom prst="rect">
              <a:avLst/>
            </a:prstGeom>
            <a:noFill/>
          </p:spPr>
          <p:txBody>
            <a:bodyPr wrap="square">
              <a:spAutoFit/>
            </a:bodyPr>
            <a:lstStyle/>
            <a:p>
              <a:pPr marL="457200" indent="-457200" defTabSz="178125">
                <a:buFont typeface="Wingdings" panose="05000000000000000000" pitchFamily="2" charset="2"/>
                <a:buChar char="Ø"/>
                <a:defRPr/>
              </a:pPr>
              <a:r>
                <a:rPr lang="es-ES" sz="2800" b="1" dirty="0">
                  <a:solidFill>
                    <a:schemeClr val="bg1"/>
                  </a:solidFill>
                  <a:latin typeface="Arial" panose="020B0604020202020204" pitchFamily="34" charset="0"/>
                </a:rPr>
                <a:t>Sobrerregulación</a:t>
              </a:r>
            </a:p>
            <a:p>
              <a:pPr marL="457200" indent="-457200" defTabSz="178125">
                <a:buFont typeface="Wingdings" panose="05000000000000000000" pitchFamily="2" charset="2"/>
                <a:buChar char="Ø"/>
                <a:defRPr/>
              </a:pPr>
              <a:endParaRPr lang="es-ES" sz="2800" b="1" dirty="0">
                <a:solidFill>
                  <a:schemeClr val="bg1"/>
                </a:solidFill>
                <a:latin typeface="Arial" panose="020B0604020202020204" pitchFamily="34" charset="0"/>
              </a:endParaRPr>
            </a:p>
            <a:p>
              <a:pPr marL="457200" indent="-457200" defTabSz="178125">
                <a:buFont typeface="Wingdings" panose="05000000000000000000" pitchFamily="2" charset="2"/>
                <a:buChar char="Ø"/>
                <a:defRPr/>
              </a:pPr>
              <a:r>
                <a:rPr lang="es-ES" sz="2800" b="1" dirty="0">
                  <a:solidFill>
                    <a:schemeClr val="bg1"/>
                  </a:solidFill>
                  <a:latin typeface="Arial" panose="020B0604020202020204" pitchFamily="34" charset="0"/>
                </a:rPr>
                <a:t>Institucionalidad</a:t>
              </a:r>
            </a:p>
            <a:p>
              <a:pPr marL="457200" indent="-457200" defTabSz="178125">
                <a:buFont typeface="Wingdings" panose="05000000000000000000" pitchFamily="2" charset="2"/>
                <a:buChar char="Ø"/>
                <a:defRPr/>
              </a:pPr>
              <a:endParaRPr lang="es-ES" sz="2800" b="1" dirty="0">
                <a:solidFill>
                  <a:schemeClr val="bg1"/>
                </a:solidFill>
                <a:latin typeface="Arial" panose="020B0604020202020204" pitchFamily="34" charset="0"/>
              </a:endParaRPr>
            </a:p>
            <a:p>
              <a:pPr marL="457200" indent="-457200" defTabSz="178125">
                <a:buFont typeface="Wingdings" panose="05000000000000000000" pitchFamily="2" charset="2"/>
                <a:buChar char="Ø"/>
                <a:defRPr/>
              </a:pPr>
              <a:r>
                <a:rPr lang="es-ES" sz="2800" b="1" dirty="0">
                  <a:solidFill>
                    <a:schemeClr val="bg1"/>
                  </a:solidFill>
                  <a:latin typeface="Arial" panose="020B0604020202020204" pitchFamily="34" charset="0"/>
                </a:rPr>
                <a:t>Propuestas</a:t>
              </a:r>
            </a:p>
          </p:txBody>
        </p:sp>
      </p:grpSp>
      <p:sp>
        <p:nvSpPr>
          <p:cNvPr id="4" name="CuadroTexto 3">
            <a:extLst>
              <a:ext uri="{FF2B5EF4-FFF2-40B4-BE49-F238E27FC236}">
                <a16:creationId xmlns:a16="http://schemas.microsoft.com/office/drawing/2014/main" id="{9565651E-6879-CC1C-361D-0462F02BB390}"/>
              </a:ext>
            </a:extLst>
          </p:cNvPr>
          <p:cNvSpPr txBox="1"/>
          <p:nvPr/>
        </p:nvSpPr>
        <p:spPr>
          <a:xfrm>
            <a:off x="898426" y="4109011"/>
            <a:ext cx="4214065" cy="978729"/>
          </a:xfrm>
          <a:prstGeom prst="rect">
            <a:avLst/>
          </a:prstGeom>
          <a:noFill/>
        </p:spPr>
        <p:txBody>
          <a:bodyPr wrap="square">
            <a:spAutoFit/>
          </a:bodyPr>
          <a:lstStyle/>
          <a:p>
            <a:pPr defTabSz="178125">
              <a:lnSpc>
                <a:spcPct val="80000"/>
              </a:lnSpc>
              <a:defRPr/>
            </a:pPr>
            <a:r>
              <a:rPr lang="es-ES" sz="3600" i="1" dirty="0">
                <a:solidFill>
                  <a:schemeClr val="bg1"/>
                </a:solidFill>
                <a:latin typeface="Votorantim Sans Black" panose="02010A03030202050203" pitchFamily="2" charset="0"/>
                <a:ea typeface="ＭＳ Ｐゴシック" panose="020B0600070205080204" pitchFamily="34" charset="-128"/>
              </a:rPr>
              <a:t>Situación de la Inversión</a:t>
            </a:r>
            <a:endParaRPr lang="pt-BR" sz="3600" i="1" dirty="0">
              <a:solidFill>
                <a:schemeClr val="bg1"/>
              </a:solidFill>
              <a:latin typeface="Votorantim Sans Black" panose="02010A03030202050203" pitchFamily="2" charset="0"/>
              <a:ea typeface="ＭＳ Ｐゴシック" panose="020B0600070205080204" pitchFamily="34" charset="-128"/>
            </a:endParaRPr>
          </a:p>
        </p:txBody>
      </p:sp>
      <p:sp>
        <p:nvSpPr>
          <p:cNvPr id="5" name="CuadroTexto 4">
            <a:extLst>
              <a:ext uri="{FF2B5EF4-FFF2-40B4-BE49-F238E27FC236}">
                <a16:creationId xmlns:a16="http://schemas.microsoft.com/office/drawing/2014/main" id="{8DB625E1-4794-1FD5-7F65-986F2515822E}"/>
              </a:ext>
            </a:extLst>
          </p:cNvPr>
          <p:cNvSpPr txBox="1"/>
          <p:nvPr/>
        </p:nvSpPr>
        <p:spPr>
          <a:xfrm>
            <a:off x="876443" y="1768295"/>
            <a:ext cx="4214065" cy="535531"/>
          </a:xfrm>
          <a:prstGeom prst="rect">
            <a:avLst/>
          </a:prstGeom>
          <a:noFill/>
        </p:spPr>
        <p:txBody>
          <a:bodyPr wrap="square">
            <a:spAutoFit/>
          </a:bodyPr>
          <a:lstStyle/>
          <a:p>
            <a:pPr defTabSz="178125">
              <a:lnSpc>
                <a:spcPct val="80000"/>
              </a:lnSpc>
              <a:defRPr/>
            </a:pPr>
            <a:r>
              <a:rPr lang="es-ES" sz="3600" i="1" dirty="0">
                <a:solidFill>
                  <a:prstClr val="white"/>
                </a:solidFill>
                <a:latin typeface="Votorantim Sans Black" panose="02010A03030202050203" pitchFamily="2" charset="0"/>
                <a:ea typeface="ＭＳ Ｐゴシック" panose="020B0600070205080204" pitchFamily="34" charset="-128"/>
              </a:rPr>
              <a:t>Oportunidades</a:t>
            </a:r>
            <a:endParaRPr lang="pt-BR" sz="3600" i="1" dirty="0">
              <a:solidFill>
                <a:prstClr val="white"/>
              </a:solidFill>
              <a:latin typeface="Votorantim Sans Black" panose="02010A03030202050203" pitchFamily="2" charset="0"/>
              <a:ea typeface="ＭＳ Ｐゴシック" panose="020B0600070205080204" pitchFamily="34" charset="-128"/>
            </a:endParaRPr>
          </a:p>
        </p:txBody>
      </p:sp>
    </p:spTree>
    <p:extLst>
      <p:ext uri="{BB962C8B-B14F-4D97-AF65-F5344CB8AC3E}">
        <p14:creationId xmlns:p14="http://schemas.microsoft.com/office/powerpoint/2010/main" val="7426818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descr="Un puente de noche&#10;&#10;Descripción generada automáticamente con confianza media">
            <a:extLst>
              <a:ext uri="{FF2B5EF4-FFF2-40B4-BE49-F238E27FC236}">
                <a16:creationId xmlns:a16="http://schemas.microsoft.com/office/drawing/2014/main" id="{26141A48-8304-4708-ACE7-46D1C46019FD}"/>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0" name="Rectángulo 9">
            <a:extLst>
              <a:ext uri="{FF2B5EF4-FFF2-40B4-BE49-F238E27FC236}">
                <a16:creationId xmlns:a16="http://schemas.microsoft.com/office/drawing/2014/main" id="{AE6A41ED-EC60-4160-AC5D-86444602E37F}"/>
              </a:ext>
            </a:extLst>
          </p:cNvPr>
          <p:cNvSpPr/>
          <p:nvPr/>
        </p:nvSpPr>
        <p:spPr>
          <a:xfrm>
            <a:off x="346197" y="283745"/>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2" name="Rectángulo 11">
            <a:extLst>
              <a:ext uri="{FF2B5EF4-FFF2-40B4-BE49-F238E27FC236}">
                <a16:creationId xmlns:a16="http://schemas.microsoft.com/office/drawing/2014/main" id="{C898FA9A-4DCD-4C2E-B698-7FD1A8C6CE88}"/>
              </a:ext>
            </a:extLst>
          </p:cNvPr>
          <p:cNvSpPr/>
          <p:nvPr/>
        </p:nvSpPr>
        <p:spPr>
          <a:xfrm>
            <a:off x="251252" y="497986"/>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0" name="Título 19">
            <a:extLst>
              <a:ext uri="{FF2B5EF4-FFF2-40B4-BE49-F238E27FC236}">
                <a16:creationId xmlns:a16="http://schemas.microsoft.com/office/drawing/2014/main" id="{2BBB98F9-52CE-4AB4-9DF4-2AE6432D211A}"/>
              </a:ext>
            </a:extLst>
          </p:cNvPr>
          <p:cNvSpPr txBox="1">
            <a:spLocks/>
          </p:cNvSpPr>
          <p:nvPr/>
        </p:nvSpPr>
        <p:spPr>
          <a:xfrm>
            <a:off x="536085" y="362491"/>
            <a:ext cx="13646916" cy="1682723"/>
          </a:xfrm>
          <a:prstGeom prst="rect">
            <a:avLst/>
          </a:prstGeom>
        </p:spPr>
        <p:txBody>
          <a:bodyPr vert="horz">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s-PE" sz="2592" b="1" dirty="0">
              <a:latin typeface="Verdana" panose="020B0604030504040204" pitchFamily="34" charset="0"/>
              <a:ea typeface="Verdana" panose="020B0604030504040204" pitchFamily="34" charset="0"/>
            </a:endParaRPr>
          </a:p>
          <a:p>
            <a:r>
              <a:rPr lang="es-PE" sz="4031" b="1" dirty="0">
                <a:latin typeface="Verdana" panose="020B0604030504040204" pitchFamily="34" charset="0"/>
                <a:ea typeface="Verdana" panose="020B0604030504040204" pitchFamily="34" charset="0"/>
              </a:rPr>
              <a:t>Percepción de políticas y atracción de la inversión</a:t>
            </a:r>
            <a:r>
              <a:rPr lang="es-PE" sz="2880" b="1" dirty="0">
                <a:latin typeface="Verdana" panose="020B0604030504040204" pitchFamily="34" charset="0"/>
                <a:ea typeface="Verdana" panose="020B0604030504040204" pitchFamily="34" charset="0"/>
              </a:rPr>
              <a:t> </a:t>
            </a:r>
          </a:p>
          <a:p>
            <a:r>
              <a:rPr lang="es-PE" sz="2880" i="1" dirty="0">
                <a:latin typeface="Verdana" panose="020B0604030504040204" pitchFamily="34" charset="0"/>
                <a:ea typeface="Verdana" panose="020B0604030504040204" pitchFamily="34" charset="0"/>
              </a:rPr>
              <a:t>(Fraser </a:t>
            </a:r>
            <a:r>
              <a:rPr lang="es-PE" sz="2880" i="1" dirty="0" err="1">
                <a:latin typeface="Verdana" panose="020B0604030504040204" pitchFamily="34" charset="0"/>
                <a:ea typeface="Verdana" panose="020B0604030504040204" pitchFamily="34" charset="0"/>
              </a:rPr>
              <a:t>Institute</a:t>
            </a:r>
            <a:r>
              <a:rPr lang="es-PE" sz="2880" i="1" dirty="0">
                <a:latin typeface="Verdana" panose="020B0604030504040204" pitchFamily="34" charset="0"/>
                <a:ea typeface="Verdana" panose="020B0604030504040204" pitchFamily="34" charset="0"/>
              </a:rPr>
              <a:t>)</a:t>
            </a:r>
          </a:p>
        </p:txBody>
      </p:sp>
      <p:sp>
        <p:nvSpPr>
          <p:cNvPr id="13" name="Rectángulo 12">
            <a:extLst>
              <a:ext uri="{FF2B5EF4-FFF2-40B4-BE49-F238E27FC236}">
                <a16:creationId xmlns:a16="http://schemas.microsoft.com/office/drawing/2014/main" id="{BDB98DDF-BD2D-4F89-9C61-84A6C447DC14}"/>
              </a:ext>
            </a:extLst>
          </p:cNvPr>
          <p:cNvSpPr/>
          <p:nvPr/>
        </p:nvSpPr>
        <p:spPr>
          <a:xfrm>
            <a:off x="346198" y="9434140"/>
            <a:ext cx="16865357" cy="170016"/>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3" name="CuadroTexto 2">
            <a:extLst>
              <a:ext uri="{FF2B5EF4-FFF2-40B4-BE49-F238E27FC236}">
                <a16:creationId xmlns:a16="http://schemas.microsoft.com/office/drawing/2014/main" id="{23BA55EC-D223-4B1F-A6E3-0086984D5BE3}"/>
              </a:ext>
            </a:extLst>
          </p:cNvPr>
          <p:cNvSpPr txBox="1"/>
          <p:nvPr/>
        </p:nvSpPr>
        <p:spPr>
          <a:xfrm>
            <a:off x="650203" y="3291843"/>
            <a:ext cx="5809011" cy="4302460"/>
          </a:xfrm>
          <a:prstGeom prst="rect">
            <a:avLst/>
          </a:prstGeom>
          <a:noFill/>
        </p:spPr>
        <p:txBody>
          <a:bodyPr wrap="square" rtlCol="0">
            <a:spAutoFit/>
          </a:bodyPr>
          <a:lstStyle/>
          <a:p>
            <a:pPr marL="493707" indent="-493707">
              <a:buFont typeface="Arial" panose="020B0604020202020204" pitchFamily="34" charset="0"/>
              <a:buChar char="•"/>
            </a:pPr>
            <a:r>
              <a:rPr lang="es-ES" sz="2736" b="1" dirty="0">
                <a:solidFill>
                  <a:srgbClr val="FF5000"/>
                </a:solidFill>
                <a:latin typeface="Verdana" panose="020B0604030504040204" pitchFamily="34" charset="0"/>
                <a:ea typeface="Verdana" panose="020B0604030504040204" pitchFamily="34" charset="0"/>
              </a:rPr>
              <a:t>El Perú se ubicó en el puesto 59 del índice de atractivo a la inversión </a:t>
            </a:r>
            <a:r>
              <a:rPr lang="es-ES" sz="2736" dirty="0">
                <a:latin typeface="Verdana" panose="020B0604030504040204" pitchFamily="34" charset="0"/>
                <a:ea typeface="Verdana" panose="020B0604030504040204" pitchFamily="34" charset="0"/>
              </a:rPr>
              <a:t>de Fraser, cayendo 25 posiciones respecto del 2023. </a:t>
            </a:r>
          </a:p>
          <a:p>
            <a:pPr marL="493707" indent="-493707">
              <a:buFont typeface="Arial" panose="020B0604020202020204" pitchFamily="34" charset="0"/>
              <a:buChar char="•"/>
            </a:pPr>
            <a:endParaRPr lang="es-ES" sz="2736" dirty="0">
              <a:latin typeface="Verdana" panose="020B0604030504040204" pitchFamily="34" charset="0"/>
              <a:ea typeface="Verdana" panose="020B0604030504040204" pitchFamily="34" charset="0"/>
            </a:endParaRPr>
          </a:p>
          <a:p>
            <a:pPr marL="493707" indent="-493707">
              <a:buFont typeface="Arial" panose="020B0604020202020204" pitchFamily="34" charset="0"/>
              <a:buChar char="•"/>
            </a:pPr>
            <a:r>
              <a:rPr lang="es-ES" sz="2736" b="1" dirty="0">
                <a:solidFill>
                  <a:srgbClr val="FF5000"/>
                </a:solidFill>
                <a:latin typeface="Verdana" panose="020B0604030504040204" pitchFamily="34" charset="0"/>
                <a:ea typeface="Verdana" panose="020B0604030504040204" pitchFamily="34" charset="0"/>
              </a:rPr>
              <a:t>Índice de percepción de política en el nivel 61 de 86 </a:t>
            </a:r>
            <a:r>
              <a:rPr lang="es-ES" sz="2736" dirty="0">
                <a:latin typeface="Verdana" panose="020B0604030504040204" pitchFamily="34" charset="0"/>
                <a:ea typeface="Verdana" panose="020B0604030504040204" pitchFamily="34" charset="0"/>
              </a:rPr>
              <a:t>posiciones. </a:t>
            </a:r>
          </a:p>
        </p:txBody>
      </p:sp>
      <p:pic>
        <p:nvPicPr>
          <p:cNvPr id="11" name="Imagen 10" descr="Icono&#10;&#10;Descripción generada automáticamente">
            <a:extLst>
              <a:ext uri="{FF2B5EF4-FFF2-40B4-BE49-F238E27FC236}">
                <a16:creationId xmlns:a16="http://schemas.microsoft.com/office/drawing/2014/main" id="{95467380-F925-4D1E-8C20-6F6B74BED7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298734" y="-15696"/>
            <a:ext cx="3319195" cy="3322423"/>
          </a:xfrm>
          <a:prstGeom prst="rect">
            <a:avLst/>
          </a:prstGeom>
        </p:spPr>
      </p:pic>
      <p:pic>
        <p:nvPicPr>
          <p:cNvPr id="4" name="Marcador de contenido 4" descr="Gráfico, Gráfico radial, Gráfico de líneas&#10;&#10;Descripción generada automáticamente">
            <a:extLst>
              <a:ext uri="{FF2B5EF4-FFF2-40B4-BE49-F238E27FC236}">
                <a16:creationId xmlns:a16="http://schemas.microsoft.com/office/drawing/2014/main" id="{C071869D-B880-2F23-8989-F8044683CF1F}"/>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4232" r="2500" b="7870"/>
          <a:stretch/>
        </p:blipFill>
        <p:spPr>
          <a:xfrm>
            <a:off x="6500158" y="2429301"/>
            <a:ext cx="9778380" cy="5743326"/>
          </a:xfrm>
          <a:prstGeom prst="rect">
            <a:avLst/>
          </a:prstGeom>
        </p:spPr>
      </p:pic>
    </p:spTree>
    <p:extLst>
      <p:ext uri="{BB962C8B-B14F-4D97-AF65-F5344CB8AC3E}">
        <p14:creationId xmlns:p14="http://schemas.microsoft.com/office/powerpoint/2010/main" val="2655221013"/>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75772EE4-71A6-4FEF-815F-B31171DB41C3}"/>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7F1DFF5D-F9C7-42D1-A29A-43FCBD53FF59}"/>
              </a:ext>
            </a:extLst>
          </p:cNvPr>
          <p:cNvSpPr/>
          <p:nvPr/>
        </p:nvSpPr>
        <p:spPr>
          <a:xfrm>
            <a:off x="346197" y="283745"/>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5" name="Rectángulo 14">
            <a:extLst>
              <a:ext uri="{FF2B5EF4-FFF2-40B4-BE49-F238E27FC236}">
                <a16:creationId xmlns:a16="http://schemas.microsoft.com/office/drawing/2014/main" id="{160F2AD9-48E6-4540-A5C9-73A9CB67808C}"/>
              </a:ext>
            </a:extLst>
          </p:cNvPr>
          <p:cNvSpPr/>
          <p:nvPr/>
        </p:nvSpPr>
        <p:spPr>
          <a:xfrm>
            <a:off x="346198" y="9434140"/>
            <a:ext cx="16865357" cy="170016"/>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8D99FCCA-9A72-44E7-8CDB-CEB2EB219BD6}"/>
              </a:ext>
            </a:extLst>
          </p:cNvPr>
          <p:cNvSpPr/>
          <p:nvPr/>
        </p:nvSpPr>
        <p:spPr>
          <a:xfrm>
            <a:off x="251252" y="497986"/>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6" name="CuadroTexto 5">
            <a:extLst>
              <a:ext uri="{FF2B5EF4-FFF2-40B4-BE49-F238E27FC236}">
                <a16:creationId xmlns:a16="http://schemas.microsoft.com/office/drawing/2014/main" id="{8E6AE5EC-EDB8-4C00-B7AF-7FAC9D64A775}"/>
              </a:ext>
            </a:extLst>
          </p:cNvPr>
          <p:cNvSpPr txBox="1"/>
          <p:nvPr/>
        </p:nvSpPr>
        <p:spPr>
          <a:xfrm>
            <a:off x="626576" y="9564050"/>
            <a:ext cx="2630274" cy="269626"/>
          </a:xfrm>
          <a:prstGeom prst="rect">
            <a:avLst/>
          </a:prstGeom>
          <a:noFill/>
        </p:spPr>
        <p:txBody>
          <a:bodyPr wrap="square" rtlCol="0">
            <a:spAutoFit/>
          </a:bodyPr>
          <a:lstStyle/>
          <a:p>
            <a:r>
              <a:rPr lang="es-ES" sz="1152" dirty="0"/>
              <a:t>Fuente: Cepal</a:t>
            </a:r>
            <a:endParaRPr lang="es-PE" sz="1152" dirty="0"/>
          </a:p>
        </p:txBody>
      </p:sp>
      <p:sp>
        <p:nvSpPr>
          <p:cNvPr id="11" name="Título 1">
            <a:extLst>
              <a:ext uri="{FF2B5EF4-FFF2-40B4-BE49-F238E27FC236}">
                <a16:creationId xmlns:a16="http://schemas.microsoft.com/office/drawing/2014/main" id="{3336E49D-3A60-4238-A66A-D744C1E1668B}"/>
              </a:ext>
            </a:extLst>
          </p:cNvPr>
          <p:cNvSpPr txBox="1">
            <a:spLocks/>
          </p:cNvSpPr>
          <p:nvPr/>
        </p:nvSpPr>
        <p:spPr>
          <a:xfrm>
            <a:off x="532084" y="52879"/>
            <a:ext cx="15136128"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PE" sz="4031" b="1" dirty="0">
                <a:latin typeface="Verdana" panose="020B0604030504040204" pitchFamily="34" charset="0"/>
                <a:ea typeface="Verdana" panose="020B0604030504040204" pitchFamily="34" charset="0"/>
              </a:rPr>
              <a:t>Sobrerregulación</a:t>
            </a:r>
            <a:endParaRPr lang="es-PE" sz="4031" dirty="0">
              <a:latin typeface="Verdana" panose="020B0604030504040204" pitchFamily="34" charset="0"/>
              <a:ea typeface="Verdana" panose="020B0604030504040204" pitchFamily="34" charset="0"/>
            </a:endParaRPr>
          </a:p>
        </p:txBody>
      </p:sp>
      <p:pic>
        <p:nvPicPr>
          <p:cNvPr id="17" name="Imagen 16" descr="Icono&#10;&#10;Descripción generada automáticamente">
            <a:extLst>
              <a:ext uri="{FF2B5EF4-FFF2-40B4-BE49-F238E27FC236}">
                <a16:creationId xmlns:a16="http://schemas.microsoft.com/office/drawing/2014/main" id="{900A0D7A-B002-40B8-B453-49BC5DF3357B}"/>
              </a:ext>
            </a:extLst>
          </p:cNvPr>
          <p:cNvPicPr>
            <a:picLocks noChangeAspect="1"/>
          </p:cNvPicPr>
          <p:nvPr/>
        </p:nvPicPr>
        <p:blipFill rotWithShape="1">
          <a:blip r:embed="rId4">
            <a:extLst>
              <a:ext uri="{28A0092B-C50C-407E-A947-70E740481C1C}">
                <a14:useLocalDpi xmlns:a14="http://schemas.microsoft.com/office/drawing/2010/main" val="0"/>
              </a:ext>
            </a:extLst>
          </a:blip>
          <a:srcRect t="24851" r="19372"/>
          <a:stretch/>
        </p:blipFill>
        <p:spPr>
          <a:xfrm>
            <a:off x="11231788" y="-2822"/>
            <a:ext cx="6326014" cy="5764146"/>
          </a:xfrm>
          <a:prstGeom prst="rect">
            <a:avLst/>
          </a:prstGeom>
        </p:spPr>
      </p:pic>
      <p:pic>
        <p:nvPicPr>
          <p:cNvPr id="30" name="Imagen 29">
            <a:extLst>
              <a:ext uri="{FF2B5EF4-FFF2-40B4-BE49-F238E27FC236}">
                <a16:creationId xmlns:a16="http://schemas.microsoft.com/office/drawing/2014/main" id="{61577183-AA9D-402E-9B3C-F2DE770B0D81}"/>
              </a:ext>
            </a:extLst>
          </p:cNvPr>
          <p:cNvPicPr>
            <a:picLocks noChangeAspect="1"/>
          </p:cNvPicPr>
          <p:nvPr/>
        </p:nvPicPr>
        <p:blipFill rotWithShape="1">
          <a:blip r:embed="rId5">
            <a:clrChange>
              <a:clrFrom>
                <a:srgbClr val="FFFFFF"/>
              </a:clrFrom>
              <a:clrTo>
                <a:srgbClr val="FFFFFF">
                  <a:alpha val="0"/>
                </a:srgbClr>
              </a:clrTo>
            </a:clrChange>
          </a:blip>
          <a:srcRect l="10168" t="30385" r="10505" b="6941"/>
          <a:stretch/>
        </p:blipFill>
        <p:spPr>
          <a:xfrm>
            <a:off x="957668" y="1921296"/>
            <a:ext cx="13925225" cy="6188520"/>
          </a:xfrm>
          <a:prstGeom prst="rect">
            <a:avLst/>
          </a:prstGeom>
        </p:spPr>
      </p:pic>
      <p:cxnSp>
        <p:nvCxnSpPr>
          <p:cNvPr id="3" name="Conector recto de flecha 2">
            <a:extLst>
              <a:ext uri="{FF2B5EF4-FFF2-40B4-BE49-F238E27FC236}">
                <a16:creationId xmlns:a16="http://schemas.microsoft.com/office/drawing/2014/main" id="{A181424C-3448-45AD-BEC4-6A19FE069798}"/>
              </a:ext>
            </a:extLst>
          </p:cNvPr>
          <p:cNvCxnSpPr/>
          <p:nvPr/>
        </p:nvCxnSpPr>
        <p:spPr>
          <a:xfrm flipV="1">
            <a:off x="2029580" y="3420047"/>
            <a:ext cx="6522302" cy="270879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424897"/>
      </p:ext>
    </p:ext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320527" y="106907"/>
            <a:ext cx="17055245"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endParaRPr lang="en-US" sz="2592" b="1" dirty="0">
              <a:latin typeface="Verdana" panose="020B0604030504040204" pitchFamily="34" charset="0"/>
              <a:ea typeface="Verdana" panose="020B0604030504040204" pitchFamily="34" charset="0"/>
            </a:endParaRPr>
          </a:p>
        </p:txBody>
      </p:sp>
      <p:sp>
        <p:nvSpPr>
          <p:cNvPr id="3" name="Marcador de texto 8">
            <a:extLst>
              <a:ext uri="{FF2B5EF4-FFF2-40B4-BE49-F238E27FC236}">
                <a16:creationId xmlns:a16="http://schemas.microsoft.com/office/drawing/2014/main" id="{A080E81D-E221-238F-D337-0E12CA61E067}"/>
              </a:ext>
            </a:extLst>
          </p:cNvPr>
          <p:cNvSpPr txBox="1">
            <a:spLocks/>
          </p:cNvSpPr>
          <p:nvPr/>
        </p:nvSpPr>
        <p:spPr>
          <a:xfrm>
            <a:off x="672306" y="8885731"/>
            <a:ext cx="10643297" cy="69809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MX" sz="1536" dirty="0">
                <a:solidFill>
                  <a:srgbClr val="3D5163"/>
                </a:solidFill>
              </a:rPr>
              <a:t>Fuente SNMPE.</a:t>
            </a:r>
          </a:p>
        </p:txBody>
      </p:sp>
      <p:sp>
        <p:nvSpPr>
          <p:cNvPr id="2" name="Título 19">
            <a:extLst>
              <a:ext uri="{FF2B5EF4-FFF2-40B4-BE49-F238E27FC236}">
                <a16:creationId xmlns:a16="http://schemas.microsoft.com/office/drawing/2014/main" id="{348BAB26-36A2-C364-7ED7-964A4B4FAFFD}"/>
              </a:ext>
            </a:extLst>
          </p:cNvPr>
          <p:cNvSpPr txBox="1">
            <a:spLocks/>
          </p:cNvSpPr>
          <p:nvPr/>
        </p:nvSpPr>
        <p:spPr>
          <a:xfrm>
            <a:off x="690630" y="601522"/>
            <a:ext cx="13830587" cy="1168708"/>
          </a:xfrm>
          <a:prstGeom prst="rect">
            <a:avLst/>
          </a:prstGeom>
        </p:spPr>
        <p:txBody>
          <a:bodyPr vert="horz">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PE" sz="4030" b="1" dirty="0">
                <a:latin typeface="Verdana" panose="020B0604030504040204" pitchFamily="34" charset="0"/>
                <a:ea typeface="Verdana" panose="020B0604030504040204" pitchFamily="34" charset="0"/>
              </a:rPr>
              <a:t>Sobrerregulación</a:t>
            </a:r>
          </a:p>
        </p:txBody>
      </p:sp>
      <p:pic>
        <p:nvPicPr>
          <p:cNvPr id="6" name="Imagen 5">
            <a:extLst>
              <a:ext uri="{FF2B5EF4-FFF2-40B4-BE49-F238E27FC236}">
                <a16:creationId xmlns:a16="http://schemas.microsoft.com/office/drawing/2014/main" id="{879D4069-1A1A-02FF-0B38-ED12E9054E73}"/>
              </a:ext>
            </a:extLst>
          </p:cNvPr>
          <p:cNvPicPr>
            <a:picLocks noChangeAspect="1"/>
          </p:cNvPicPr>
          <p:nvPr/>
        </p:nvPicPr>
        <p:blipFill rotWithShape="1">
          <a:blip r:embed="rId4"/>
          <a:srcRect l="6836" t="10231" r="7265" b="13862"/>
          <a:stretch/>
        </p:blipFill>
        <p:spPr>
          <a:xfrm>
            <a:off x="8384998" y="2974858"/>
            <a:ext cx="8235546" cy="3924531"/>
          </a:xfrm>
          <a:prstGeom prst="rect">
            <a:avLst/>
          </a:prstGeom>
        </p:spPr>
      </p:pic>
      <p:sp>
        <p:nvSpPr>
          <p:cNvPr id="9" name="14 CuadroTexto">
            <a:extLst>
              <a:ext uri="{FF2B5EF4-FFF2-40B4-BE49-F238E27FC236}">
                <a16:creationId xmlns:a16="http://schemas.microsoft.com/office/drawing/2014/main" id="{E4098000-FA5E-3DFF-4313-2CE0682034C8}"/>
              </a:ext>
            </a:extLst>
          </p:cNvPr>
          <p:cNvSpPr txBox="1"/>
          <p:nvPr/>
        </p:nvSpPr>
        <p:spPr>
          <a:xfrm>
            <a:off x="2129538" y="3206461"/>
            <a:ext cx="5707102" cy="730327"/>
          </a:xfrm>
          <a:prstGeom prst="rect">
            <a:avLst/>
          </a:prstGeom>
          <a:noFill/>
        </p:spPr>
        <p:txBody>
          <a:bodyPr wrap="square" lIns="103667" tIns="51833" rIns="103667" bIns="51833" rtlCol="0">
            <a:noAutofit/>
          </a:bodyPr>
          <a:lstStyle/>
          <a:p>
            <a:pPr algn="just" defTabSz="658277" fontAlgn="auto">
              <a:spcBef>
                <a:spcPts val="0"/>
              </a:spcBef>
              <a:spcAft>
                <a:spcPts val="0"/>
              </a:spcAft>
              <a:buClr>
                <a:srgbClr val="C00000"/>
              </a:buClr>
              <a:defRPr/>
            </a:pPr>
            <a:r>
              <a:rPr lang="es-MX" sz="2160" kern="0" dirty="0">
                <a:solidFill>
                  <a:prstClr val="black"/>
                </a:solidFill>
              </a:rPr>
              <a:t>Procedimientos (PA) identificados en la cadena de valor; </a:t>
            </a:r>
            <a:r>
              <a:rPr lang="es-PE" sz="2160" kern="0" dirty="0">
                <a:solidFill>
                  <a:prstClr val="black"/>
                </a:solidFill>
              </a:rPr>
              <a:t>cuyas actividades se encuentran reguladas por 470 normas e intervienen 29 entidades públicas.</a:t>
            </a:r>
          </a:p>
        </p:txBody>
      </p:sp>
      <p:sp>
        <p:nvSpPr>
          <p:cNvPr id="10" name="15 CuadroTexto">
            <a:extLst>
              <a:ext uri="{FF2B5EF4-FFF2-40B4-BE49-F238E27FC236}">
                <a16:creationId xmlns:a16="http://schemas.microsoft.com/office/drawing/2014/main" id="{9677B061-8A02-C70D-9D24-E28C1AF43D1D}"/>
              </a:ext>
            </a:extLst>
          </p:cNvPr>
          <p:cNvSpPr txBox="1"/>
          <p:nvPr/>
        </p:nvSpPr>
        <p:spPr>
          <a:xfrm>
            <a:off x="2154496" y="5826063"/>
            <a:ext cx="5682144" cy="641482"/>
          </a:xfrm>
          <a:prstGeom prst="rect">
            <a:avLst/>
          </a:prstGeom>
          <a:noFill/>
        </p:spPr>
        <p:txBody>
          <a:bodyPr wrap="square" lIns="103667" tIns="51833" rIns="103667" bIns="51833" rtlCol="0">
            <a:noAutofit/>
          </a:bodyPr>
          <a:lstStyle/>
          <a:p>
            <a:pPr algn="just" defTabSz="658277" fontAlgn="auto">
              <a:spcBef>
                <a:spcPts val="0"/>
              </a:spcBef>
              <a:spcAft>
                <a:spcPts val="0"/>
              </a:spcAft>
              <a:buClr>
                <a:srgbClr val="C00000"/>
              </a:buClr>
              <a:defRPr/>
            </a:pPr>
            <a:r>
              <a:rPr lang="es-ES_tradnl" sz="2160" kern="0" dirty="0">
                <a:solidFill>
                  <a:prstClr val="black"/>
                </a:solidFill>
              </a:rPr>
              <a:t>PA con posibles barreras burocráticas ilegales y/o carentes de razonabilidad.</a:t>
            </a:r>
          </a:p>
        </p:txBody>
      </p:sp>
      <p:sp>
        <p:nvSpPr>
          <p:cNvPr id="11" name="14 CuadroTexto">
            <a:extLst>
              <a:ext uri="{FF2B5EF4-FFF2-40B4-BE49-F238E27FC236}">
                <a16:creationId xmlns:a16="http://schemas.microsoft.com/office/drawing/2014/main" id="{821CB21D-E333-734E-6214-1E6075B6A20B}"/>
              </a:ext>
            </a:extLst>
          </p:cNvPr>
          <p:cNvSpPr txBox="1"/>
          <p:nvPr/>
        </p:nvSpPr>
        <p:spPr>
          <a:xfrm>
            <a:off x="2129538" y="4823831"/>
            <a:ext cx="5707102" cy="435931"/>
          </a:xfrm>
          <a:prstGeom prst="rect">
            <a:avLst/>
          </a:prstGeom>
          <a:noFill/>
        </p:spPr>
        <p:txBody>
          <a:bodyPr wrap="square" lIns="103667" tIns="51833" rIns="103667" bIns="51833" rtlCol="0">
            <a:noAutofit/>
          </a:bodyPr>
          <a:lstStyle/>
          <a:p>
            <a:pPr algn="just" defTabSz="658277" fontAlgn="auto">
              <a:spcBef>
                <a:spcPts val="864"/>
              </a:spcBef>
              <a:spcAft>
                <a:spcPts val="864"/>
              </a:spcAft>
              <a:buClr>
                <a:srgbClr val="C00000"/>
              </a:buClr>
              <a:defRPr/>
            </a:pPr>
            <a:r>
              <a:rPr lang="es-MX" sz="2160" kern="0" dirty="0">
                <a:solidFill>
                  <a:prstClr val="black"/>
                </a:solidFill>
              </a:rPr>
              <a:t>Entidades</a:t>
            </a:r>
            <a:r>
              <a:rPr lang="es-ES" sz="2160" kern="0" dirty="0">
                <a:solidFill>
                  <a:prstClr val="black"/>
                </a:solidFill>
              </a:rPr>
              <a:t> pueden participar emitiendo opiniones técnicas a los IGA.</a:t>
            </a:r>
            <a:endParaRPr lang="es-PE" sz="2160" kern="0" dirty="0">
              <a:solidFill>
                <a:prstClr val="black"/>
              </a:solidFill>
            </a:endParaRPr>
          </a:p>
        </p:txBody>
      </p:sp>
      <p:sp>
        <p:nvSpPr>
          <p:cNvPr id="12" name="3 Elipse">
            <a:extLst>
              <a:ext uri="{FF2B5EF4-FFF2-40B4-BE49-F238E27FC236}">
                <a16:creationId xmlns:a16="http://schemas.microsoft.com/office/drawing/2014/main" id="{9A77EEDF-A708-AB9C-7F58-382BEF088596}"/>
              </a:ext>
            </a:extLst>
          </p:cNvPr>
          <p:cNvSpPr/>
          <p:nvPr/>
        </p:nvSpPr>
        <p:spPr>
          <a:xfrm>
            <a:off x="618925" y="3376484"/>
            <a:ext cx="1113039" cy="1005545"/>
          </a:xfrm>
          <a:prstGeom prst="ellipse">
            <a:avLst/>
          </a:prstGeom>
          <a:solidFill>
            <a:schemeClr val="bg1">
              <a:lumMod val="75000"/>
            </a:schemeClr>
          </a:solidFill>
          <a:ln w="12700" cap="flat" cmpd="sng" algn="ctr">
            <a:noFill/>
            <a:prstDash val="solid"/>
            <a:miter lim="800000"/>
          </a:ln>
          <a:effectLst/>
        </p:spPr>
        <p:txBody>
          <a:bodyPr rtlCol="0" anchor="ctr"/>
          <a:lstStyle/>
          <a:p>
            <a:pPr algn="ctr" defTabSz="658277" fontAlgn="auto">
              <a:spcBef>
                <a:spcPts val="0"/>
              </a:spcBef>
              <a:spcAft>
                <a:spcPts val="0"/>
              </a:spcAft>
              <a:defRPr/>
            </a:pPr>
            <a:r>
              <a:rPr lang="es-PE" sz="2160" b="1" kern="0" dirty="0">
                <a:solidFill>
                  <a:prstClr val="white"/>
                </a:solidFill>
                <a:cs typeface="+mn-cs"/>
              </a:rPr>
              <a:t>232</a:t>
            </a:r>
            <a:endParaRPr lang="es-ES" sz="2160" b="1" kern="0" dirty="0">
              <a:solidFill>
                <a:prstClr val="white"/>
              </a:solidFill>
              <a:cs typeface="+mn-cs"/>
            </a:endParaRPr>
          </a:p>
        </p:txBody>
      </p:sp>
      <p:sp>
        <p:nvSpPr>
          <p:cNvPr id="18" name="3 Elipse">
            <a:extLst>
              <a:ext uri="{FF2B5EF4-FFF2-40B4-BE49-F238E27FC236}">
                <a16:creationId xmlns:a16="http://schemas.microsoft.com/office/drawing/2014/main" id="{0D65F416-EB91-7450-521A-C2583280AAFD}"/>
              </a:ext>
            </a:extLst>
          </p:cNvPr>
          <p:cNvSpPr/>
          <p:nvPr/>
        </p:nvSpPr>
        <p:spPr>
          <a:xfrm>
            <a:off x="618924" y="4543621"/>
            <a:ext cx="1113042" cy="1005545"/>
          </a:xfrm>
          <a:prstGeom prst="ellipse">
            <a:avLst/>
          </a:prstGeom>
          <a:solidFill>
            <a:schemeClr val="bg1">
              <a:lumMod val="75000"/>
            </a:schemeClr>
          </a:solidFill>
          <a:ln w="12700" cap="flat" cmpd="sng" algn="ctr">
            <a:noFill/>
            <a:prstDash val="solid"/>
            <a:miter lim="800000"/>
          </a:ln>
          <a:effectLst/>
        </p:spPr>
        <p:txBody>
          <a:bodyPr rtlCol="0" anchor="ctr"/>
          <a:lstStyle/>
          <a:p>
            <a:pPr algn="ctr" defTabSz="658277" fontAlgn="auto">
              <a:spcBef>
                <a:spcPts val="0"/>
              </a:spcBef>
              <a:spcAft>
                <a:spcPts val="0"/>
              </a:spcAft>
              <a:defRPr/>
            </a:pPr>
            <a:r>
              <a:rPr lang="es-PE" sz="2160" b="1" kern="0" dirty="0">
                <a:solidFill>
                  <a:prstClr val="white"/>
                </a:solidFill>
                <a:cs typeface="+mn-cs"/>
              </a:rPr>
              <a:t>12</a:t>
            </a:r>
            <a:endParaRPr lang="es-ES" sz="2160" b="1" kern="0" dirty="0">
              <a:solidFill>
                <a:prstClr val="white"/>
              </a:solidFill>
              <a:cs typeface="+mn-cs"/>
            </a:endParaRPr>
          </a:p>
        </p:txBody>
      </p:sp>
      <p:sp>
        <p:nvSpPr>
          <p:cNvPr id="19" name="3 Elipse">
            <a:extLst>
              <a:ext uri="{FF2B5EF4-FFF2-40B4-BE49-F238E27FC236}">
                <a16:creationId xmlns:a16="http://schemas.microsoft.com/office/drawing/2014/main" id="{0ADF0C37-592B-BE7D-F23A-9A91BD609A13}"/>
              </a:ext>
            </a:extLst>
          </p:cNvPr>
          <p:cNvSpPr/>
          <p:nvPr/>
        </p:nvSpPr>
        <p:spPr>
          <a:xfrm>
            <a:off x="618924" y="5738076"/>
            <a:ext cx="1113042" cy="1005545"/>
          </a:xfrm>
          <a:prstGeom prst="ellipse">
            <a:avLst/>
          </a:prstGeom>
          <a:solidFill>
            <a:schemeClr val="bg1">
              <a:lumMod val="75000"/>
            </a:schemeClr>
          </a:solidFill>
          <a:ln w="12700" cap="flat" cmpd="sng" algn="ctr">
            <a:noFill/>
            <a:prstDash val="solid"/>
            <a:miter lim="800000"/>
          </a:ln>
          <a:effectLst/>
        </p:spPr>
        <p:txBody>
          <a:bodyPr rtlCol="0" anchor="ctr"/>
          <a:lstStyle/>
          <a:p>
            <a:pPr algn="ctr" defTabSz="658277" fontAlgn="auto">
              <a:spcBef>
                <a:spcPts val="0"/>
              </a:spcBef>
              <a:spcAft>
                <a:spcPts val="0"/>
              </a:spcAft>
              <a:defRPr/>
            </a:pPr>
            <a:r>
              <a:rPr lang="es-PE" sz="2160" b="1" kern="0" dirty="0">
                <a:solidFill>
                  <a:prstClr val="white"/>
                </a:solidFill>
                <a:cs typeface="+mn-cs"/>
              </a:rPr>
              <a:t>60</a:t>
            </a:r>
            <a:endParaRPr lang="es-ES" sz="2160" b="1" kern="0" dirty="0">
              <a:solidFill>
                <a:prstClr val="white"/>
              </a:solidFill>
              <a:cs typeface="+mn-cs"/>
            </a:endParaRPr>
          </a:p>
        </p:txBody>
      </p:sp>
      <p:sp>
        <p:nvSpPr>
          <p:cNvPr id="20" name="15 CuadroTexto">
            <a:extLst>
              <a:ext uri="{FF2B5EF4-FFF2-40B4-BE49-F238E27FC236}">
                <a16:creationId xmlns:a16="http://schemas.microsoft.com/office/drawing/2014/main" id="{CBF9F456-0438-3F00-A90D-1FFC740117F6}"/>
              </a:ext>
            </a:extLst>
          </p:cNvPr>
          <p:cNvSpPr txBox="1"/>
          <p:nvPr/>
        </p:nvSpPr>
        <p:spPr>
          <a:xfrm>
            <a:off x="8952931" y="1770231"/>
            <a:ext cx="7099681" cy="562612"/>
          </a:xfrm>
          <a:prstGeom prst="rect">
            <a:avLst/>
          </a:prstGeom>
          <a:noFill/>
        </p:spPr>
        <p:txBody>
          <a:bodyPr wrap="square" lIns="103667" tIns="51833" rIns="103667" bIns="51833" rtlCol="0">
            <a:noAutofit/>
          </a:bodyPr>
          <a:lstStyle/>
          <a:p>
            <a:pPr algn="ctr" defTabSz="658277" fontAlgn="auto">
              <a:spcBef>
                <a:spcPts val="0"/>
              </a:spcBef>
              <a:spcAft>
                <a:spcPts val="0"/>
              </a:spcAft>
              <a:buClr>
                <a:srgbClr val="C00000"/>
              </a:buClr>
              <a:defRPr/>
            </a:pPr>
            <a:r>
              <a:rPr lang="es-ES_tradnl" sz="1728" b="1" kern="0" dirty="0">
                <a:solidFill>
                  <a:prstClr val="black"/>
                </a:solidFill>
              </a:rPr>
              <a:t>Cadena de Valor del Sector Minero (principales permisos)</a:t>
            </a:r>
            <a:endParaRPr lang="es-ES_tradnl" sz="1584" b="1" kern="0" dirty="0">
              <a:solidFill>
                <a:prstClr val="black"/>
              </a:solidFill>
            </a:endParaRPr>
          </a:p>
        </p:txBody>
      </p:sp>
    </p:spTree>
    <p:extLst>
      <p:ext uri="{BB962C8B-B14F-4D97-AF65-F5344CB8AC3E}">
        <p14:creationId xmlns:p14="http://schemas.microsoft.com/office/powerpoint/2010/main" val="2712449140"/>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320527" y="106907"/>
            <a:ext cx="17055245"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endParaRPr lang="en-US" sz="2592" b="1" dirty="0">
              <a:latin typeface="Verdana" panose="020B0604030504040204" pitchFamily="34" charset="0"/>
              <a:ea typeface="Verdana" panose="020B0604030504040204" pitchFamily="34" charset="0"/>
            </a:endParaRPr>
          </a:p>
        </p:txBody>
      </p:sp>
      <p:sp>
        <p:nvSpPr>
          <p:cNvPr id="2" name="Título 19">
            <a:extLst>
              <a:ext uri="{FF2B5EF4-FFF2-40B4-BE49-F238E27FC236}">
                <a16:creationId xmlns:a16="http://schemas.microsoft.com/office/drawing/2014/main" id="{348BAB26-36A2-C364-7ED7-964A4B4FAFFD}"/>
              </a:ext>
            </a:extLst>
          </p:cNvPr>
          <p:cNvSpPr txBox="1">
            <a:spLocks/>
          </p:cNvSpPr>
          <p:nvPr/>
        </p:nvSpPr>
        <p:spPr>
          <a:xfrm>
            <a:off x="690630" y="601522"/>
            <a:ext cx="13830587" cy="1168708"/>
          </a:xfrm>
          <a:prstGeom prst="rect">
            <a:avLst/>
          </a:prstGeom>
        </p:spPr>
        <p:txBody>
          <a:bodyPr vert="horz">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PE" sz="4030" b="1" dirty="0">
                <a:latin typeface="Verdana" panose="020B0604030504040204" pitchFamily="34" charset="0"/>
                <a:ea typeface="Verdana" panose="020B0604030504040204" pitchFamily="34" charset="0"/>
              </a:rPr>
              <a:t>Demoras en los Procedimientos </a:t>
            </a:r>
          </a:p>
        </p:txBody>
      </p:sp>
      <p:pic>
        <p:nvPicPr>
          <p:cNvPr id="4" name="Imagen 3">
            <a:extLst>
              <a:ext uri="{FF2B5EF4-FFF2-40B4-BE49-F238E27FC236}">
                <a16:creationId xmlns:a16="http://schemas.microsoft.com/office/drawing/2014/main" id="{2CC3618B-4034-DDA5-4879-6103AD51F965}"/>
              </a:ext>
            </a:extLst>
          </p:cNvPr>
          <p:cNvPicPr>
            <a:picLocks noChangeAspect="1"/>
          </p:cNvPicPr>
          <p:nvPr/>
        </p:nvPicPr>
        <p:blipFill>
          <a:blip r:embed="rId4"/>
          <a:stretch>
            <a:fillRect/>
          </a:stretch>
        </p:blipFill>
        <p:spPr>
          <a:xfrm>
            <a:off x="9390941" y="2969278"/>
            <a:ext cx="7297663" cy="3417041"/>
          </a:xfrm>
          <a:prstGeom prst="rect">
            <a:avLst/>
          </a:prstGeom>
        </p:spPr>
      </p:pic>
      <p:graphicFrame>
        <p:nvGraphicFramePr>
          <p:cNvPr id="5" name="Objeto 4">
            <a:extLst>
              <a:ext uri="{FF2B5EF4-FFF2-40B4-BE49-F238E27FC236}">
                <a16:creationId xmlns:a16="http://schemas.microsoft.com/office/drawing/2014/main" id="{A8B54F4F-25C7-206D-E5DA-381AE6FFA627}"/>
              </a:ext>
            </a:extLst>
          </p:cNvPr>
          <p:cNvGraphicFramePr>
            <a:graphicFrameLocks noChangeAspect="1"/>
          </p:cNvGraphicFramePr>
          <p:nvPr>
            <p:extLst>
              <p:ext uri="{D42A27DB-BD31-4B8C-83A1-F6EECF244321}">
                <p14:modId xmlns:p14="http://schemas.microsoft.com/office/powerpoint/2010/main" val="2612888767"/>
              </p:ext>
            </p:extLst>
          </p:nvPr>
        </p:nvGraphicFramePr>
        <p:xfrm>
          <a:off x="641234" y="1563086"/>
          <a:ext cx="8185113" cy="6253692"/>
        </p:xfrm>
        <a:graphic>
          <a:graphicData uri="http://schemas.openxmlformats.org/presentationml/2006/ole">
            <mc:AlternateContent xmlns:mc="http://schemas.openxmlformats.org/markup-compatibility/2006">
              <mc:Choice xmlns:v="urn:schemas-microsoft-com:vml" Requires="v">
                <p:oleObj name="Worksheet" r:id="rId5" imgW="5684550" imgH="4343242" progId="Excel.Sheet.12">
                  <p:embed/>
                </p:oleObj>
              </mc:Choice>
              <mc:Fallback>
                <p:oleObj name="Worksheet" r:id="rId5" imgW="5684550" imgH="4343242" progId="Excel.Sheet.12">
                  <p:embed/>
                  <p:pic>
                    <p:nvPicPr>
                      <p:cNvPr id="22" name="Objeto 21">
                        <a:extLst>
                          <a:ext uri="{FF2B5EF4-FFF2-40B4-BE49-F238E27FC236}">
                            <a16:creationId xmlns:a16="http://schemas.microsoft.com/office/drawing/2014/main" id="{FBA8B44A-E844-10D9-148D-9BD064AE6208}"/>
                          </a:ext>
                        </a:extLst>
                      </p:cNvPr>
                      <p:cNvPicPr/>
                      <p:nvPr/>
                    </p:nvPicPr>
                    <p:blipFill>
                      <a:blip r:embed="rId6"/>
                      <a:stretch>
                        <a:fillRect/>
                      </a:stretch>
                    </p:blipFill>
                    <p:spPr>
                      <a:xfrm>
                        <a:off x="641234" y="1563086"/>
                        <a:ext cx="8185113" cy="6253692"/>
                      </a:xfrm>
                      <a:prstGeom prst="rect">
                        <a:avLst/>
                      </a:prstGeom>
                      <a:solidFill>
                        <a:schemeClr val="bg2">
                          <a:lumMod val="90000"/>
                        </a:schemeClr>
                      </a:solidFill>
                    </p:spPr>
                  </p:pic>
                </p:oleObj>
              </mc:Fallback>
            </mc:AlternateContent>
          </a:graphicData>
        </a:graphic>
      </p:graphicFrame>
      <p:sp>
        <p:nvSpPr>
          <p:cNvPr id="6" name="15 CuadroTexto">
            <a:extLst>
              <a:ext uri="{FF2B5EF4-FFF2-40B4-BE49-F238E27FC236}">
                <a16:creationId xmlns:a16="http://schemas.microsoft.com/office/drawing/2014/main" id="{D6DF9B94-3F65-3FA6-3B74-457037A1FBBF}"/>
              </a:ext>
            </a:extLst>
          </p:cNvPr>
          <p:cNvSpPr txBox="1"/>
          <p:nvPr/>
        </p:nvSpPr>
        <p:spPr>
          <a:xfrm>
            <a:off x="498436" y="7999600"/>
            <a:ext cx="5682144" cy="641482"/>
          </a:xfrm>
          <a:prstGeom prst="rect">
            <a:avLst/>
          </a:prstGeom>
          <a:noFill/>
        </p:spPr>
        <p:txBody>
          <a:bodyPr wrap="square" lIns="103667" tIns="51833" rIns="103667" bIns="51833" rtlCol="0">
            <a:noAutofit/>
          </a:bodyPr>
          <a:lstStyle/>
          <a:p>
            <a:pPr algn="just" defTabSz="658277" fontAlgn="auto">
              <a:spcBef>
                <a:spcPts val="0"/>
              </a:spcBef>
              <a:spcAft>
                <a:spcPts val="0"/>
              </a:spcAft>
              <a:buClr>
                <a:srgbClr val="C00000"/>
              </a:buClr>
              <a:defRPr/>
            </a:pPr>
            <a:r>
              <a:rPr lang="es-ES_tradnl" sz="1584" kern="0" dirty="0">
                <a:solidFill>
                  <a:prstClr val="black"/>
                </a:solidFill>
              </a:rPr>
              <a:t>*Sin considerar consulta previa.</a:t>
            </a:r>
          </a:p>
          <a:p>
            <a:pPr algn="just" defTabSz="658277" fontAlgn="auto">
              <a:spcBef>
                <a:spcPts val="0"/>
              </a:spcBef>
              <a:spcAft>
                <a:spcPts val="0"/>
              </a:spcAft>
              <a:buClr>
                <a:srgbClr val="C00000"/>
              </a:buClr>
              <a:defRPr/>
            </a:pPr>
            <a:r>
              <a:rPr lang="es-ES_tradnl" sz="1584" kern="0" dirty="0">
                <a:solidFill>
                  <a:prstClr val="black"/>
                </a:solidFill>
              </a:rPr>
              <a:t>Fuente: Informe REM para SNMPE, 2024</a:t>
            </a:r>
          </a:p>
        </p:txBody>
      </p:sp>
      <p:sp>
        <p:nvSpPr>
          <p:cNvPr id="7" name="15 CuadroTexto">
            <a:extLst>
              <a:ext uri="{FF2B5EF4-FFF2-40B4-BE49-F238E27FC236}">
                <a16:creationId xmlns:a16="http://schemas.microsoft.com/office/drawing/2014/main" id="{43BC4955-2A86-0A31-5105-CE3A44348A0E}"/>
              </a:ext>
            </a:extLst>
          </p:cNvPr>
          <p:cNvSpPr txBox="1"/>
          <p:nvPr/>
        </p:nvSpPr>
        <p:spPr>
          <a:xfrm>
            <a:off x="9390941" y="6654233"/>
            <a:ext cx="5682144" cy="641482"/>
          </a:xfrm>
          <a:prstGeom prst="rect">
            <a:avLst/>
          </a:prstGeom>
          <a:noFill/>
        </p:spPr>
        <p:txBody>
          <a:bodyPr wrap="square" lIns="103667" tIns="51833" rIns="103667" bIns="51833" rtlCol="0">
            <a:noAutofit/>
          </a:bodyPr>
          <a:lstStyle/>
          <a:p>
            <a:pPr algn="just" defTabSz="658277" fontAlgn="auto">
              <a:spcBef>
                <a:spcPts val="0"/>
              </a:spcBef>
              <a:spcAft>
                <a:spcPts val="0"/>
              </a:spcAft>
              <a:buClr>
                <a:srgbClr val="C00000"/>
              </a:buClr>
              <a:defRPr/>
            </a:pPr>
            <a:r>
              <a:rPr lang="es-ES_tradnl" sz="1584" kern="0" dirty="0">
                <a:solidFill>
                  <a:prstClr val="black"/>
                </a:solidFill>
              </a:rPr>
              <a:t>Fuente: Informe Ada Alegre para SNMPE, 2024</a:t>
            </a:r>
          </a:p>
        </p:txBody>
      </p:sp>
      <p:sp>
        <p:nvSpPr>
          <p:cNvPr id="8" name="15 CuadroTexto">
            <a:extLst>
              <a:ext uri="{FF2B5EF4-FFF2-40B4-BE49-F238E27FC236}">
                <a16:creationId xmlns:a16="http://schemas.microsoft.com/office/drawing/2014/main" id="{6A4D4C71-5902-C581-0A88-285DE7B0D178}"/>
              </a:ext>
            </a:extLst>
          </p:cNvPr>
          <p:cNvSpPr txBox="1"/>
          <p:nvPr/>
        </p:nvSpPr>
        <p:spPr>
          <a:xfrm>
            <a:off x="9960519" y="2514581"/>
            <a:ext cx="5682144" cy="641482"/>
          </a:xfrm>
          <a:prstGeom prst="rect">
            <a:avLst/>
          </a:prstGeom>
          <a:noFill/>
        </p:spPr>
        <p:txBody>
          <a:bodyPr wrap="square" lIns="103667" tIns="51833" rIns="103667" bIns="51833" rtlCol="0">
            <a:noAutofit/>
          </a:bodyPr>
          <a:lstStyle/>
          <a:p>
            <a:pPr algn="ctr" defTabSz="658277" fontAlgn="auto">
              <a:spcBef>
                <a:spcPts val="0"/>
              </a:spcBef>
              <a:spcAft>
                <a:spcPts val="0"/>
              </a:spcAft>
              <a:buClr>
                <a:srgbClr val="C00000"/>
              </a:buClr>
              <a:defRPr/>
            </a:pPr>
            <a:r>
              <a:rPr lang="es-ES_tradnl" sz="1728" b="1" kern="0" dirty="0">
                <a:solidFill>
                  <a:prstClr val="black"/>
                </a:solidFill>
              </a:rPr>
              <a:t>Plazos reales en la certificación ambiental</a:t>
            </a:r>
            <a:endParaRPr lang="es-ES_tradnl" sz="1584" b="1" kern="0" dirty="0">
              <a:solidFill>
                <a:prstClr val="black"/>
              </a:solidFill>
            </a:endParaRPr>
          </a:p>
        </p:txBody>
      </p:sp>
    </p:spTree>
    <p:extLst>
      <p:ext uri="{BB962C8B-B14F-4D97-AF65-F5344CB8AC3E}">
        <p14:creationId xmlns:p14="http://schemas.microsoft.com/office/powerpoint/2010/main" val="4012843862"/>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75772EE4-71A6-4FEF-815F-B31171DB41C3}"/>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7F1DFF5D-F9C7-42D1-A29A-43FCBD53FF59}"/>
              </a:ext>
            </a:extLst>
          </p:cNvPr>
          <p:cNvSpPr/>
          <p:nvPr/>
        </p:nvSpPr>
        <p:spPr>
          <a:xfrm>
            <a:off x="346197" y="283745"/>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5" name="Rectángulo 14">
            <a:extLst>
              <a:ext uri="{FF2B5EF4-FFF2-40B4-BE49-F238E27FC236}">
                <a16:creationId xmlns:a16="http://schemas.microsoft.com/office/drawing/2014/main" id="{160F2AD9-48E6-4540-A5C9-73A9CB67808C}"/>
              </a:ext>
            </a:extLst>
          </p:cNvPr>
          <p:cNvSpPr/>
          <p:nvPr/>
        </p:nvSpPr>
        <p:spPr>
          <a:xfrm>
            <a:off x="346198" y="9434140"/>
            <a:ext cx="16865357" cy="170016"/>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8D99FCCA-9A72-44E7-8CDB-CEB2EB219BD6}"/>
              </a:ext>
            </a:extLst>
          </p:cNvPr>
          <p:cNvSpPr/>
          <p:nvPr/>
        </p:nvSpPr>
        <p:spPr>
          <a:xfrm>
            <a:off x="251252" y="497986"/>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12" name="Imagen 11" descr="Icono&#10;&#10;Descripción generada automáticamente">
            <a:extLst>
              <a:ext uri="{FF2B5EF4-FFF2-40B4-BE49-F238E27FC236}">
                <a16:creationId xmlns:a16="http://schemas.microsoft.com/office/drawing/2014/main" id="{FDA2DD22-AD4B-4850-8198-D0C00A618700}"/>
              </a:ext>
            </a:extLst>
          </p:cNvPr>
          <p:cNvPicPr>
            <a:picLocks noChangeAspect="1"/>
          </p:cNvPicPr>
          <p:nvPr/>
        </p:nvPicPr>
        <p:blipFill rotWithShape="1">
          <a:blip r:embed="rId4">
            <a:extLst>
              <a:ext uri="{28A0092B-C50C-407E-A947-70E740481C1C}">
                <a14:useLocalDpi xmlns:a14="http://schemas.microsoft.com/office/drawing/2010/main" val="0"/>
              </a:ext>
            </a:extLst>
          </a:blip>
          <a:srcRect r="65577"/>
          <a:stretch/>
        </p:blipFill>
        <p:spPr>
          <a:xfrm>
            <a:off x="15465449" y="-430675"/>
            <a:ext cx="2075731" cy="3210093"/>
          </a:xfrm>
          <a:prstGeom prst="rect">
            <a:avLst/>
          </a:prstGeom>
        </p:spPr>
      </p:pic>
      <p:sp>
        <p:nvSpPr>
          <p:cNvPr id="6" name="CuadroTexto 5">
            <a:extLst>
              <a:ext uri="{FF2B5EF4-FFF2-40B4-BE49-F238E27FC236}">
                <a16:creationId xmlns:a16="http://schemas.microsoft.com/office/drawing/2014/main" id="{8E6AE5EC-EDB8-4C00-B7AF-7FAC9D64A775}"/>
              </a:ext>
            </a:extLst>
          </p:cNvPr>
          <p:cNvSpPr txBox="1"/>
          <p:nvPr/>
        </p:nvSpPr>
        <p:spPr>
          <a:xfrm>
            <a:off x="626576" y="9564050"/>
            <a:ext cx="2630274" cy="269626"/>
          </a:xfrm>
          <a:prstGeom prst="rect">
            <a:avLst/>
          </a:prstGeom>
          <a:noFill/>
        </p:spPr>
        <p:txBody>
          <a:bodyPr wrap="square" rtlCol="0">
            <a:spAutoFit/>
          </a:bodyPr>
          <a:lstStyle/>
          <a:p>
            <a:r>
              <a:rPr lang="es-ES" sz="1152" dirty="0"/>
              <a:t>Fuente: Cepal</a:t>
            </a:r>
            <a:endParaRPr lang="es-PE" sz="1152" dirty="0"/>
          </a:p>
        </p:txBody>
      </p:sp>
      <p:sp>
        <p:nvSpPr>
          <p:cNvPr id="11" name="Título 1">
            <a:extLst>
              <a:ext uri="{FF2B5EF4-FFF2-40B4-BE49-F238E27FC236}">
                <a16:creationId xmlns:a16="http://schemas.microsoft.com/office/drawing/2014/main" id="{3336E49D-3A60-4238-A66A-D744C1E1668B}"/>
              </a:ext>
            </a:extLst>
          </p:cNvPr>
          <p:cNvSpPr txBox="1">
            <a:spLocks/>
          </p:cNvSpPr>
          <p:nvPr/>
        </p:nvSpPr>
        <p:spPr>
          <a:xfrm>
            <a:off x="536085" y="-83655"/>
            <a:ext cx="15136128"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n-US" sz="4031" b="1" dirty="0">
                <a:latin typeface="Verdana" panose="020B0604030504040204" pitchFamily="34" charset="0"/>
                <a:ea typeface="Verdana" panose="020B0604030504040204" pitchFamily="34" charset="0"/>
              </a:rPr>
              <a:t>Consulta previa </a:t>
            </a:r>
            <a:r>
              <a:rPr lang="en-US" sz="4031" b="1" dirty="0" err="1">
                <a:latin typeface="Verdana" panose="020B0604030504040204" pitchFamily="34" charset="0"/>
                <a:ea typeface="Verdana" panose="020B0604030504040204" pitchFamily="34" charset="0"/>
              </a:rPr>
              <a:t>en</a:t>
            </a:r>
            <a:r>
              <a:rPr lang="en-US" sz="4031" b="1" dirty="0">
                <a:latin typeface="Verdana" panose="020B0604030504040204" pitchFamily="34" charset="0"/>
                <a:ea typeface="Verdana" panose="020B0604030504040204" pitchFamily="34" charset="0"/>
              </a:rPr>
              <a:t> </a:t>
            </a:r>
            <a:r>
              <a:rPr lang="en-US" sz="4031" b="1" dirty="0" err="1">
                <a:latin typeface="Verdana" panose="020B0604030504040204" pitchFamily="34" charset="0"/>
                <a:ea typeface="Verdana" panose="020B0604030504040204" pitchFamily="34" charset="0"/>
              </a:rPr>
              <a:t>exploraciones</a:t>
            </a:r>
            <a:endParaRPr lang="en-US" sz="4031" b="1" dirty="0">
              <a:latin typeface="Verdana" panose="020B0604030504040204" pitchFamily="34" charset="0"/>
              <a:ea typeface="Verdana" panose="020B0604030504040204" pitchFamily="34" charset="0"/>
            </a:endParaRPr>
          </a:p>
        </p:txBody>
      </p:sp>
      <p:sp>
        <p:nvSpPr>
          <p:cNvPr id="20" name="CuadroTexto 19">
            <a:extLst>
              <a:ext uri="{FF2B5EF4-FFF2-40B4-BE49-F238E27FC236}">
                <a16:creationId xmlns:a16="http://schemas.microsoft.com/office/drawing/2014/main" id="{C7764931-C2A8-419C-883B-CE3FA9EF1E19}"/>
              </a:ext>
            </a:extLst>
          </p:cNvPr>
          <p:cNvSpPr txBox="1"/>
          <p:nvPr/>
        </p:nvSpPr>
        <p:spPr>
          <a:xfrm>
            <a:off x="1001038" y="1680860"/>
            <a:ext cx="15603658" cy="923330"/>
          </a:xfrm>
          <a:prstGeom prst="rect">
            <a:avLst/>
          </a:prstGeom>
          <a:noFill/>
        </p:spPr>
        <p:txBody>
          <a:bodyPr wrap="square" rtlCol="0">
            <a:spAutoFit/>
          </a:bodyPr>
          <a:lstStyle/>
          <a:p>
            <a:pPr algn="ctr"/>
            <a:r>
              <a:rPr lang="es-ES" b="1" dirty="0">
                <a:latin typeface="Verdana" panose="020B0604030504040204" pitchFamily="34" charset="0"/>
                <a:ea typeface="Verdana" panose="020B0604030504040204" pitchFamily="34" charset="0"/>
              </a:rPr>
              <a:t>Plazos </a:t>
            </a:r>
            <a:r>
              <a:rPr lang="es-ES" dirty="0">
                <a:latin typeface="Verdana" panose="020B0604030504040204" pitchFamily="34" charset="0"/>
                <a:ea typeface="Verdana" panose="020B0604030504040204" pitchFamily="34" charset="0"/>
              </a:rPr>
              <a:t>de evaluación </a:t>
            </a:r>
            <a:r>
              <a:rPr lang="es-ES" b="1" dirty="0">
                <a:latin typeface="Verdana" panose="020B0604030504040204" pitchFamily="34" charset="0"/>
                <a:ea typeface="Verdana" panose="020B0604030504040204" pitchFamily="34" charset="0"/>
              </a:rPr>
              <a:t>excesivos</a:t>
            </a:r>
          </a:p>
          <a:p>
            <a:pPr algn="ctr"/>
            <a:r>
              <a:rPr lang="es-ES" dirty="0">
                <a:latin typeface="Verdana" panose="020B0604030504040204" pitchFamily="34" charset="0"/>
                <a:ea typeface="Verdana" panose="020B0604030504040204" pitchFamily="34" charset="0"/>
              </a:rPr>
              <a:t>Se generan </a:t>
            </a:r>
            <a:r>
              <a:rPr lang="es-ES" b="1" dirty="0">
                <a:latin typeface="Verdana" panose="020B0604030504040204" pitchFamily="34" charset="0"/>
                <a:ea typeface="Verdana" panose="020B0604030504040204" pitchFamily="34" charset="0"/>
              </a:rPr>
              <a:t>expectativas innecesarias</a:t>
            </a:r>
          </a:p>
          <a:p>
            <a:pPr algn="ctr"/>
            <a:r>
              <a:rPr lang="es-ES" dirty="0">
                <a:latin typeface="Verdana" panose="020B0604030504040204" pitchFamily="34" charset="0"/>
                <a:ea typeface="Verdana" panose="020B0604030504040204" pitchFamily="34" charset="0"/>
              </a:rPr>
              <a:t>Países de la región no exigen consulta previa (Chile, Colombia, Argentina, Bolivia, etc.)</a:t>
            </a:r>
            <a:endParaRPr lang="es-PE" dirty="0">
              <a:latin typeface="Verdana" panose="020B0604030504040204" pitchFamily="34" charset="0"/>
              <a:ea typeface="Verdana" panose="020B0604030504040204" pitchFamily="34" charset="0"/>
            </a:endParaRPr>
          </a:p>
        </p:txBody>
      </p:sp>
      <p:graphicFrame>
        <p:nvGraphicFramePr>
          <p:cNvPr id="17" name="Gráfico 16">
            <a:extLst>
              <a:ext uri="{FF2B5EF4-FFF2-40B4-BE49-F238E27FC236}">
                <a16:creationId xmlns:a16="http://schemas.microsoft.com/office/drawing/2014/main" id="{5709EFDA-CF7D-47DC-9870-5097379C4F61}"/>
              </a:ext>
            </a:extLst>
          </p:cNvPr>
          <p:cNvGraphicFramePr>
            <a:graphicFrameLocks/>
          </p:cNvGraphicFramePr>
          <p:nvPr/>
        </p:nvGraphicFramePr>
        <p:xfrm>
          <a:off x="4463318" y="3692440"/>
          <a:ext cx="7629674" cy="5048692"/>
        </p:xfrm>
        <a:graphic>
          <a:graphicData uri="http://schemas.openxmlformats.org/drawingml/2006/chart">
            <c:chart xmlns:c="http://schemas.openxmlformats.org/drawingml/2006/chart" xmlns:r="http://schemas.openxmlformats.org/officeDocument/2006/relationships" r:id="rId5"/>
          </a:graphicData>
        </a:graphic>
      </p:graphicFrame>
      <p:sp>
        <p:nvSpPr>
          <p:cNvPr id="21" name="CuadroTexto 20">
            <a:extLst>
              <a:ext uri="{FF2B5EF4-FFF2-40B4-BE49-F238E27FC236}">
                <a16:creationId xmlns:a16="http://schemas.microsoft.com/office/drawing/2014/main" id="{D0D09E55-820A-4210-9005-30EBC312E618}"/>
              </a:ext>
            </a:extLst>
          </p:cNvPr>
          <p:cNvSpPr txBox="1"/>
          <p:nvPr/>
        </p:nvSpPr>
        <p:spPr>
          <a:xfrm>
            <a:off x="12437428" y="4728584"/>
            <a:ext cx="2862005" cy="1022972"/>
          </a:xfrm>
          <a:prstGeom prst="rect">
            <a:avLst/>
          </a:prstGeom>
          <a:noFill/>
        </p:spPr>
        <p:txBody>
          <a:bodyPr wrap="square" rtlCol="0">
            <a:spAutoFit/>
          </a:bodyPr>
          <a:lstStyle/>
          <a:p>
            <a:pPr algn="r"/>
            <a:r>
              <a:rPr lang="es-ES" sz="2016" b="1" dirty="0"/>
              <a:t>Inversión en exploración minera</a:t>
            </a:r>
          </a:p>
          <a:p>
            <a:pPr algn="r"/>
            <a:r>
              <a:rPr lang="es-ES" sz="2016" dirty="0"/>
              <a:t>(millones de US$)</a:t>
            </a:r>
            <a:endParaRPr lang="es-PE" sz="2016" dirty="0"/>
          </a:p>
        </p:txBody>
      </p:sp>
      <p:sp>
        <p:nvSpPr>
          <p:cNvPr id="22" name="CuadroTexto 21">
            <a:extLst>
              <a:ext uri="{FF2B5EF4-FFF2-40B4-BE49-F238E27FC236}">
                <a16:creationId xmlns:a16="http://schemas.microsoft.com/office/drawing/2014/main" id="{33C40174-890A-4A72-A648-16FDA964E4B2}"/>
              </a:ext>
            </a:extLst>
          </p:cNvPr>
          <p:cNvSpPr txBox="1"/>
          <p:nvPr/>
        </p:nvSpPr>
        <p:spPr>
          <a:xfrm>
            <a:off x="4219653" y="8573962"/>
            <a:ext cx="2862005" cy="269626"/>
          </a:xfrm>
          <a:prstGeom prst="rect">
            <a:avLst/>
          </a:prstGeom>
          <a:noFill/>
        </p:spPr>
        <p:txBody>
          <a:bodyPr wrap="square" rtlCol="0">
            <a:spAutoFit/>
          </a:bodyPr>
          <a:lstStyle/>
          <a:p>
            <a:pPr algn="r"/>
            <a:r>
              <a:rPr lang="es-ES" sz="1152" b="1" dirty="0"/>
              <a:t>Fuente: MINEM</a:t>
            </a:r>
            <a:endParaRPr lang="es-PE" sz="1152" dirty="0"/>
          </a:p>
        </p:txBody>
      </p:sp>
      <p:cxnSp>
        <p:nvCxnSpPr>
          <p:cNvPr id="23" name="Conector recto de flecha 22">
            <a:extLst>
              <a:ext uri="{FF2B5EF4-FFF2-40B4-BE49-F238E27FC236}">
                <a16:creationId xmlns:a16="http://schemas.microsoft.com/office/drawing/2014/main" id="{D520D2F4-A6B8-4BF8-A1A1-E31796C70164}"/>
              </a:ext>
            </a:extLst>
          </p:cNvPr>
          <p:cNvCxnSpPr>
            <a:cxnSpLocks/>
          </p:cNvCxnSpPr>
          <p:nvPr/>
        </p:nvCxnSpPr>
        <p:spPr>
          <a:xfrm>
            <a:off x="8577883" y="4557762"/>
            <a:ext cx="2159676" cy="140518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1633357"/>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320527" y="106907"/>
            <a:ext cx="17055245"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endParaRPr lang="en-US" sz="2592" b="1" dirty="0">
              <a:latin typeface="Verdana" panose="020B0604030504040204" pitchFamily="34" charset="0"/>
              <a:ea typeface="Verdana" panose="020B0604030504040204" pitchFamily="34" charset="0"/>
            </a:endParaRPr>
          </a:p>
        </p:txBody>
      </p:sp>
      <p:sp>
        <p:nvSpPr>
          <p:cNvPr id="2" name="Título 19">
            <a:extLst>
              <a:ext uri="{FF2B5EF4-FFF2-40B4-BE49-F238E27FC236}">
                <a16:creationId xmlns:a16="http://schemas.microsoft.com/office/drawing/2014/main" id="{348BAB26-36A2-C364-7ED7-964A4B4FAFFD}"/>
              </a:ext>
            </a:extLst>
          </p:cNvPr>
          <p:cNvSpPr txBox="1">
            <a:spLocks/>
          </p:cNvSpPr>
          <p:nvPr/>
        </p:nvSpPr>
        <p:spPr>
          <a:xfrm>
            <a:off x="690630" y="601522"/>
            <a:ext cx="13830587" cy="1168708"/>
          </a:xfrm>
          <a:prstGeom prst="rect">
            <a:avLst/>
          </a:prstGeom>
        </p:spPr>
        <p:txBody>
          <a:bodyPr vert="horz">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PE" sz="4030" b="1" dirty="0">
                <a:latin typeface="Verdana" panose="020B0604030504040204" pitchFamily="34" charset="0"/>
                <a:ea typeface="Verdana" panose="020B0604030504040204" pitchFamily="34" charset="0"/>
              </a:rPr>
              <a:t>Problemas de Institucionalidad</a:t>
            </a:r>
          </a:p>
        </p:txBody>
      </p:sp>
      <p:sp>
        <p:nvSpPr>
          <p:cNvPr id="4" name="4 Rectángulo">
            <a:extLst>
              <a:ext uri="{FF2B5EF4-FFF2-40B4-BE49-F238E27FC236}">
                <a16:creationId xmlns:a16="http://schemas.microsoft.com/office/drawing/2014/main" id="{F0CB7EC1-DDB8-2B32-95C8-3AFDE1163CF9}"/>
              </a:ext>
            </a:extLst>
          </p:cNvPr>
          <p:cNvSpPr/>
          <p:nvPr/>
        </p:nvSpPr>
        <p:spPr>
          <a:xfrm>
            <a:off x="5794494" y="4115391"/>
            <a:ext cx="9964634" cy="801501"/>
          </a:xfrm>
          <a:prstGeom prst="rect">
            <a:avLst/>
          </a:prstGeom>
          <a:noFill/>
          <a:ln>
            <a:noFill/>
          </a:ln>
        </p:spPr>
        <p:txBody>
          <a:bodyPr wrap="square" anchor="ctr" anchorCtr="0">
            <a:spAutoFit/>
          </a:bodyPr>
          <a:lstStyle/>
          <a:p>
            <a:pPr marL="411423" indent="-411423" algn="just" defTabSz="658277" fontAlgn="auto">
              <a:spcBef>
                <a:spcPts val="0"/>
              </a:spcBef>
              <a:spcAft>
                <a:spcPts val="0"/>
              </a:spcAft>
              <a:buClr>
                <a:srgbClr val="C00000"/>
              </a:buClr>
              <a:buFont typeface="Wingdings" panose="05000000000000000000" pitchFamily="2" charset="2"/>
              <a:buChar char="§"/>
              <a:defRPr/>
            </a:pPr>
            <a:r>
              <a:rPr lang="es-PE" sz="2304" kern="0" dirty="0">
                <a:solidFill>
                  <a:prstClr val="black"/>
                </a:solidFill>
              </a:rPr>
              <a:t>Muchos actores involucrados en la cadena de valor.</a:t>
            </a:r>
          </a:p>
          <a:p>
            <a:pPr marL="411423" indent="-411423" algn="just" defTabSz="658277" fontAlgn="auto">
              <a:spcBef>
                <a:spcPts val="0"/>
              </a:spcBef>
              <a:spcAft>
                <a:spcPts val="0"/>
              </a:spcAft>
              <a:buClr>
                <a:srgbClr val="C00000"/>
              </a:buClr>
              <a:buFont typeface="Wingdings" panose="05000000000000000000" pitchFamily="2" charset="2"/>
              <a:buChar char="§"/>
              <a:defRPr/>
            </a:pPr>
            <a:r>
              <a:rPr lang="es-PE" sz="2304" kern="0" dirty="0">
                <a:solidFill>
                  <a:prstClr val="black"/>
                </a:solidFill>
              </a:rPr>
              <a:t>Duplicidad o conflicto de competencias.</a:t>
            </a:r>
          </a:p>
        </p:txBody>
      </p:sp>
      <p:sp>
        <p:nvSpPr>
          <p:cNvPr id="5" name="5 Rectángulo">
            <a:extLst>
              <a:ext uri="{FF2B5EF4-FFF2-40B4-BE49-F238E27FC236}">
                <a16:creationId xmlns:a16="http://schemas.microsoft.com/office/drawing/2014/main" id="{AD8E05FE-C9DA-329C-ADBF-F47260A124DD}"/>
              </a:ext>
            </a:extLst>
          </p:cNvPr>
          <p:cNvSpPr/>
          <p:nvPr/>
        </p:nvSpPr>
        <p:spPr>
          <a:xfrm>
            <a:off x="5794494" y="5123096"/>
            <a:ext cx="9964634" cy="1156086"/>
          </a:xfrm>
          <a:prstGeom prst="rect">
            <a:avLst/>
          </a:prstGeom>
          <a:noFill/>
          <a:ln>
            <a:noFill/>
          </a:ln>
        </p:spPr>
        <p:txBody>
          <a:bodyPr wrap="square" anchor="ctr" anchorCtr="0">
            <a:spAutoFit/>
          </a:bodyPr>
          <a:lstStyle/>
          <a:p>
            <a:pPr marL="411423" indent="-411423" algn="just" defTabSz="658277" fontAlgn="auto">
              <a:spcBef>
                <a:spcPts val="0"/>
              </a:spcBef>
              <a:spcAft>
                <a:spcPts val="0"/>
              </a:spcAft>
              <a:buClr>
                <a:srgbClr val="C00000"/>
              </a:buClr>
              <a:buFont typeface="Wingdings" panose="05000000000000000000" pitchFamily="2" charset="2"/>
              <a:buChar char="§"/>
              <a:defRPr/>
            </a:pPr>
            <a:r>
              <a:rPr lang="es-PE" sz="2304" kern="0" dirty="0">
                <a:solidFill>
                  <a:prstClr val="black"/>
                </a:solidFill>
              </a:rPr>
              <a:t>No existe interoperabilidad ni se comparte información entre las entidades públicas.</a:t>
            </a:r>
          </a:p>
          <a:p>
            <a:pPr marL="411423" indent="-411423" algn="just" defTabSz="658277" fontAlgn="auto">
              <a:spcBef>
                <a:spcPts val="0"/>
              </a:spcBef>
              <a:spcAft>
                <a:spcPts val="0"/>
              </a:spcAft>
              <a:buClr>
                <a:srgbClr val="C00000"/>
              </a:buClr>
              <a:buFont typeface="Wingdings" panose="05000000000000000000" pitchFamily="2" charset="2"/>
              <a:buChar char="§"/>
              <a:defRPr/>
            </a:pPr>
            <a:r>
              <a:rPr lang="es-PE" sz="2304" kern="0" dirty="0">
                <a:solidFill>
                  <a:prstClr val="black"/>
                </a:solidFill>
              </a:rPr>
              <a:t>El mecanismo de opiniones técnicas no ha funcionado.</a:t>
            </a:r>
          </a:p>
        </p:txBody>
      </p:sp>
      <p:sp>
        <p:nvSpPr>
          <p:cNvPr id="6" name="6 Rectángulo">
            <a:extLst>
              <a:ext uri="{FF2B5EF4-FFF2-40B4-BE49-F238E27FC236}">
                <a16:creationId xmlns:a16="http://schemas.microsoft.com/office/drawing/2014/main" id="{EC91D36F-EB49-32E2-D221-C190F31505EF}"/>
              </a:ext>
            </a:extLst>
          </p:cNvPr>
          <p:cNvSpPr/>
          <p:nvPr/>
        </p:nvSpPr>
        <p:spPr>
          <a:xfrm>
            <a:off x="5794495" y="7881950"/>
            <a:ext cx="9964634" cy="446917"/>
          </a:xfrm>
          <a:prstGeom prst="rect">
            <a:avLst/>
          </a:prstGeom>
          <a:noFill/>
          <a:ln>
            <a:noFill/>
          </a:ln>
        </p:spPr>
        <p:txBody>
          <a:bodyPr wrap="square" anchor="ctr" anchorCtr="0">
            <a:spAutoFit/>
          </a:bodyPr>
          <a:lstStyle/>
          <a:p>
            <a:pPr marL="411423" indent="-411423" algn="just" defTabSz="658277" fontAlgn="auto">
              <a:spcBef>
                <a:spcPts val="0"/>
              </a:spcBef>
              <a:spcAft>
                <a:spcPts val="0"/>
              </a:spcAft>
              <a:buClr>
                <a:srgbClr val="C00000"/>
              </a:buClr>
              <a:buFont typeface="Wingdings" panose="05000000000000000000" pitchFamily="2" charset="2"/>
              <a:buChar char="§"/>
              <a:defRPr/>
            </a:pPr>
            <a:r>
              <a:rPr lang="es-PE" sz="2304" kern="0" dirty="0">
                <a:solidFill>
                  <a:prstClr val="black"/>
                </a:solidFill>
              </a:rPr>
              <a:t>Fortalecer continuamente las capacidades de los reguladores y fiscalizadores.</a:t>
            </a:r>
          </a:p>
        </p:txBody>
      </p:sp>
      <p:sp>
        <p:nvSpPr>
          <p:cNvPr id="7" name="7 Pentágono">
            <a:extLst>
              <a:ext uri="{FF2B5EF4-FFF2-40B4-BE49-F238E27FC236}">
                <a16:creationId xmlns:a16="http://schemas.microsoft.com/office/drawing/2014/main" id="{DDF100FA-8011-F31C-0E12-6691B1359294}"/>
              </a:ext>
            </a:extLst>
          </p:cNvPr>
          <p:cNvSpPr/>
          <p:nvPr/>
        </p:nvSpPr>
        <p:spPr>
          <a:xfrm>
            <a:off x="1476822" y="4302753"/>
            <a:ext cx="4132748" cy="446917"/>
          </a:xfrm>
          <a:prstGeom prst="homePlate">
            <a:avLst>
              <a:gd name="adj" fmla="val 21419"/>
            </a:avLst>
          </a:prstGeom>
          <a:solidFill>
            <a:schemeClr val="bg1">
              <a:lumMod val="85000"/>
            </a:schemeClr>
          </a:solidFill>
        </p:spPr>
        <p:txBody>
          <a:bodyPr wrap="square" anchor="ctr" anchorCtr="0">
            <a:spAutoFit/>
          </a:bodyPr>
          <a:lstStyle/>
          <a:p>
            <a:pPr defTabSz="658277" fontAlgn="auto">
              <a:spcBef>
                <a:spcPts val="0"/>
              </a:spcBef>
              <a:spcAft>
                <a:spcPts val="0"/>
              </a:spcAft>
              <a:defRPr/>
            </a:pPr>
            <a:r>
              <a:rPr lang="es-PE" sz="2304" b="1" kern="0" dirty="0">
                <a:solidFill>
                  <a:prstClr val="black"/>
                </a:solidFill>
              </a:rPr>
              <a:t>Arreglo institucional</a:t>
            </a:r>
            <a:endParaRPr lang="es-PE" sz="2304" kern="0" dirty="0">
              <a:solidFill>
                <a:prstClr val="black"/>
              </a:solidFill>
            </a:endParaRPr>
          </a:p>
        </p:txBody>
      </p:sp>
      <p:sp>
        <p:nvSpPr>
          <p:cNvPr id="8" name="11 Pentágono">
            <a:extLst>
              <a:ext uri="{FF2B5EF4-FFF2-40B4-BE49-F238E27FC236}">
                <a16:creationId xmlns:a16="http://schemas.microsoft.com/office/drawing/2014/main" id="{575BA104-D15A-72C1-A616-AD653D839E9E}"/>
              </a:ext>
            </a:extLst>
          </p:cNvPr>
          <p:cNvSpPr/>
          <p:nvPr/>
        </p:nvSpPr>
        <p:spPr>
          <a:xfrm>
            <a:off x="1500410" y="5488081"/>
            <a:ext cx="4132748" cy="446917"/>
          </a:xfrm>
          <a:prstGeom prst="homePlate">
            <a:avLst>
              <a:gd name="adj" fmla="val 21419"/>
            </a:avLst>
          </a:prstGeom>
          <a:solidFill>
            <a:schemeClr val="bg1">
              <a:lumMod val="85000"/>
            </a:schemeClr>
          </a:solidFill>
        </p:spPr>
        <p:txBody>
          <a:bodyPr wrap="square" anchor="ctr" anchorCtr="0">
            <a:spAutoFit/>
          </a:bodyPr>
          <a:lstStyle/>
          <a:p>
            <a:pPr defTabSz="658277" fontAlgn="auto">
              <a:spcBef>
                <a:spcPts val="0"/>
              </a:spcBef>
              <a:spcAft>
                <a:spcPts val="0"/>
              </a:spcAft>
              <a:defRPr/>
            </a:pPr>
            <a:r>
              <a:rPr lang="es-PE" sz="2304" b="1" kern="0" dirty="0">
                <a:solidFill>
                  <a:prstClr val="black"/>
                </a:solidFill>
              </a:rPr>
              <a:t>Problemas de coordinación</a:t>
            </a:r>
            <a:endParaRPr lang="es-PE" sz="2304" kern="0" dirty="0">
              <a:solidFill>
                <a:prstClr val="black"/>
              </a:solidFill>
            </a:endParaRPr>
          </a:p>
        </p:txBody>
      </p:sp>
      <p:sp>
        <p:nvSpPr>
          <p:cNvPr id="9" name="13 Pentágono">
            <a:extLst>
              <a:ext uri="{FF2B5EF4-FFF2-40B4-BE49-F238E27FC236}">
                <a16:creationId xmlns:a16="http://schemas.microsoft.com/office/drawing/2014/main" id="{FB729615-73B9-60CA-5216-0C3F55437CCF}"/>
              </a:ext>
            </a:extLst>
          </p:cNvPr>
          <p:cNvSpPr/>
          <p:nvPr/>
        </p:nvSpPr>
        <p:spPr>
          <a:xfrm>
            <a:off x="1500410" y="7881950"/>
            <a:ext cx="4085574" cy="446917"/>
          </a:xfrm>
          <a:prstGeom prst="homePlate">
            <a:avLst>
              <a:gd name="adj" fmla="val 21419"/>
            </a:avLst>
          </a:prstGeom>
          <a:solidFill>
            <a:schemeClr val="bg1">
              <a:lumMod val="85000"/>
            </a:schemeClr>
          </a:solidFill>
        </p:spPr>
        <p:txBody>
          <a:bodyPr wrap="square" anchor="ctr" anchorCtr="0">
            <a:spAutoFit/>
          </a:bodyPr>
          <a:lstStyle/>
          <a:p>
            <a:pPr defTabSz="658277" fontAlgn="auto">
              <a:spcBef>
                <a:spcPts val="0"/>
              </a:spcBef>
              <a:spcAft>
                <a:spcPts val="0"/>
              </a:spcAft>
              <a:defRPr/>
            </a:pPr>
            <a:r>
              <a:rPr lang="es-PE" sz="2304" b="1" kern="0" dirty="0">
                <a:solidFill>
                  <a:prstClr val="black"/>
                </a:solidFill>
              </a:rPr>
              <a:t>Capacitación</a:t>
            </a:r>
            <a:endParaRPr lang="es-PE" sz="2304" kern="0" dirty="0">
              <a:solidFill>
                <a:prstClr val="black"/>
              </a:solidFill>
            </a:endParaRPr>
          </a:p>
        </p:txBody>
      </p:sp>
      <p:sp>
        <p:nvSpPr>
          <p:cNvPr id="10" name="13 Pentágono">
            <a:extLst>
              <a:ext uri="{FF2B5EF4-FFF2-40B4-BE49-F238E27FC236}">
                <a16:creationId xmlns:a16="http://schemas.microsoft.com/office/drawing/2014/main" id="{1095DBD3-83C5-B59B-ABF0-4943DDA80232}"/>
              </a:ext>
            </a:extLst>
          </p:cNvPr>
          <p:cNvSpPr/>
          <p:nvPr/>
        </p:nvSpPr>
        <p:spPr>
          <a:xfrm>
            <a:off x="1500410" y="6673683"/>
            <a:ext cx="4085574" cy="446917"/>
          </a:xfrm>
          <a:prstGeom prst="homePlate">
            <a:avLst>
              <a:gd name="adj" fmla="val 21419"/>
            </a:avLst>
          </a:prstGeom>
          <a:solidFill>
            <a:schemeClr val="bg1">
              <a:lumMod val="85000"/>
            </a:schemeClr>
          </a:solidFill>
        </p:spPr>
        <p:txBody>
          <a:bodyPr wrap="square" anchor="ctr" anchorCtr="0">
            <a:spAutoFit/>
          </a:bodyPr>
          <a:lstStyle/>
          <a:p>
            <a:pPr defTabSz="658277" fontAlgn="auto">
              <a:spcBef>
                <a:spcPts val="0"/>
              </a:spcBef>
              <a:spcAft>
                <a:spcPts val="0"/>
              </a:spcAft>
              <a:defRPr/>
            </a:pPr>
            <a:r>
              <a:rPr lang="es-PE" sz="2304" b="1" kern="0" dirty="0">
                <a:solidFill>
                  <a:prstClr val="black"/>
                </a:solidFill>
              </a:rPr>
              <a:t>Falta de recursos</a:t>
            </a:r>
            <a:endParaRPr lang="es-PE" sz="2304" kern="0" dirty="0">
              <a:solidFill>
                <a:prstClr val="black"/>
              </a:solidFill>
            </a:endParaRPr>
          </a:p>
        </p:txBody>
      </p:sp>
      <p:sp>
        <p:nvSpPr>
          <p:cNvPr id="11" name="4 Rectángulo">
            <a:extLst>
              <a:ext uri="{FF2B5EF4-FFF2-40B4-BE49-F238E27FC236}">
                <a16:creationId xmlns:a16="http://schemas.microsoft.com/office/drawing/2014/main" id="{767F27E6-F27B-0A86-809E-4A9888D4673A}"/>
              </a:ext>
            </a:extLst>
          </p:cNvPr>
          <p:cNvSpPr/>
          <p:nvPr/>
        </p:nvSpPr>
        <p:spPr>
          <a:xfrm>
            <a:off x="5794494" y="6565229"/>
            <a:ext cx="9964634" cy="801501"/>
          </a:xfrm>
          <a:prstGeom prst="rect">
            <a:avLst/>
          </a:prstGeom>
          <a:noFill/>
          <a:ln>
            <a:noFill/>
          </a:ln>
        </p:spPr>
        <p:txBody>
          <a:bodyPr wrap="square" anchor="ctr" anchorCtr="0">
            <a:spAutoFit/>
          </a:bodyPr>
          <a:lstStyle/>
          <a:p>
            <a:pPr marL="411423" indent="-411423" algn="just" defTabSz="658277" fontAlgn="auto">
              <a:spcBef>
                <a:spcPts val="0"/>
              </a:spcBef>
              <a:spcAft>
                <a:spcPts val="0"/>
              </a:spcAft>
              <a:buClr>
                <a:srgbClr val="C00000"/>
              </a:buClr>
              <a:buFont typeface="Wingdings" panose="05000000000000000000" pitchFamily="2" charset="2"/>
              <a:buChar char="§"/>
              <a:defRPr/>
            </a:pPr>
            <a:r>
              <a:rPr lang="es-PE" sz="2304" kern="0" dirty="0">
                <a:solidFill>
                  <a:prstClr val="black"/>
                </a:solidFill>
              </a:rPr>
              <a:t>Carencia de recursos humanos y económicos para atender la demanda de trámites (ANA, SUCAMEC, MINEM, etc.).</a:t>
            </a:r>
          </a:p>
        </p:txBody>
      </p:sp>
      <p:pic>
        <p:nvPicPr>
          <p:cNvPr id="12" name="Imagen 11">
            <a:extLst>
              <a:ext uri="{FF2B5EF4-FFF2-40B4-BE49-F238E27FC236}">
                <a16:creationId xmlns:a16="http://schemas.microsoft.com/office/drawing/2014/main" id="{4E28976E-0D47-A76B-5B56-223DC0324377}"/>
              </a:ext>
            </a:extLst>
          </p:cNvPr>
          <p:cNvPicPr>
            <a:picLocks noChangeAspect="1"/>
          </p:cNvPicPr>
          <p:nvPr/>
        </p:nvPicPr>
        <p:blipFill>
          <a:blip r:embed="rId4"/>
          <a:stretch>
            <a:fillRect/>
          </a:stretch>
        </p:blipFill>
        <p:spPr>
          <a:xfrm>
            <a:off x="3543195" y="1599961"/>
            <a:ext cx="10876809" cy="1900619"/>
          </a:xfrm>
          <a:prstGeom prst="rect">
            <a:avLst/>
          </a:prstGeom>
        </p:spPr>
      </p:pic>
    </p:spTree>
    <p:extLst>
      <p:ext uri="{BB962C8B-B14F-4D97-AF65-F5344CB8AC3E}">
        <p14:creationId xmlns:p14="http://schemas.microsoft.com/office/powerpoint/2010/main" val="1992106728"/>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320527" y="106907"/>
            <a:ext cx="17055245"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PE" sz="2800" b="1" dirty="0">
                <a:latin typeface="Verdana" panose="020B0604030504040204" pitchFamily="34" charset="0"/>
                <a:ea typeface="Verdana" panose="020B0604030504040204" pitchFamily="34" charset="0"/>
              </a:rPr>
              <a:t> </a:t>
            </a:r>
            <a:r>
              <a:rPr lang="es-PE" sz="4030" b="1" dirty="0">
                <a:latin typeface="Verdana" panose="020B0604030504040204" pitchFamily="34" charset="0"/>
                <a:ea typeface="Verdana" panose="020B0604030504040204" pitchFamily="34" charset="0"/>
              </a:rPr>
              <a:t>Valorización de los efectos de la tramitología</a:t>
            </a:r>
            <a:endParaRPr lang="en-US" sz="4030" b="1" dirty="0">
              <a:latin typeface="Verdana" panose="020B0604030504040204" pitchFamily="34" charset="0"/>
              <a:ea typeface="Verdana" panose="020B0604030504040204" pitchFamily="34" charset="0"/>
            </a:endParaRPr>
          </a:p>
        </p:txBody>
      </p:sp>
      <p:pic>
        <p:nvPicPr>
          <p:cNvPr id="2" name="Imagen 1">
            <a:extLst>
              <a:ext uri="{FF2B5EF4-FFF2-40B4-BE49-F238E27FC236}">
                <a16:creationId xmlns:a16="http://schemas.microsoft.com/office/drawing/2014/main" id="{AE25783A-4043-A7CD-7E7F-38ABE9B556E0}"/>
              </a:ext>
            </a:extLst>
          </p:cNvPr>
          <p:cNvPicPr>
            <a:picLocks noChangeAspect="1"/>
          </p:cNvPicPr>
          <p:nvPr/>
        </p:nvPicPr>
        <p:blipFill>
          <a:blip r:embed="rId4"/>
          <a:srcRect l="5750" t="57736"/>
          <a:stretch/>
        </p:blipFill>
        <p:spPr>
          <a:xfrm>
            <a:off x="3345634" y="2207976"/>
            <a:ext cx="11189231" cy="6538061"/>
          </a:xfrm>
          <a:prstGeom prst="rect">
            <a:avLst/>
          </a:prstGeom>
        </p:spPr>
      </p:pic>
      <p:sp>
        <p:nvSpPr>
          <p:cNvPr id="3" name="Marcador de texto 8">
            <a:extLst>
              <a:ext uri="{FF2B5EF4-FFF2-40B4-BE49-F238E27FC236}">
                <a16:creationId xmlns:a16="http://schemas.microsoft.com/office/drawing/2014/main" id="{5235E84F-6234-8245-7E48-4E84C2B7655F}"/>
              </a:ext>
            </a:extLst>
          </p:cNvPr>
          <p:cNvSpPr txBox="1">
            <a:spLocks/>
          </p:cNvSpPr>
          <p:nvPr/>
        </p:nvSpPr>
        <p:spPr>
          <a:xfrm>
            <a:off x="672306" y="8885731"/>
            <a:ext cx="10643297" cy="69809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s-MX" sz="1536" dirty="0">
                <a:solidFill>
                  <a:srgbClr val="3D5163"/>
                </a:solidFill>
              </a:rPr>
              <a:t>Fuente SNMPE / IPE.</a:t>
            </a:r>
          </a:p>
        </p:txBody>
      </p:sp>
    </p:spTree>
    <p:extLst>
      <p:ext uri="{BB962C8B-B14F-4D97-AF65-F5344CB8AC3E}">
        <p14:creationId xmlns:p14="http://schemas.microsoft.com/office/powerpoint/2010/main" val="4093663636"/>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5">
            <a:extLst>
              <a:ext uri="{FF2B5EF4-FFF2-40B4-BE49-F238E27FC236}">
                <a16:creationId xmlns:a16="http://schemas.microsoft.com/office/drawing/2014/main" id="{0F2E279C-0FA4-DDE9-BE24-9D5EA3A65F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4763"/>
            <a:ext cx="17557750" cy="987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766C2DE0-1F56-6FA8-82CD-9BD6072E19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3" y="3175"/>
            <a:ext cx="17557750" cy="987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phic 4">
            <a:extLst>
              <a:ext uri="{FF2B5EF4-FFF2-40B4-BE49-F238E27FC236}">
                <a16:creationId xmlns:a16="http://schemas.microsoft.com/office/drawing/2014/main" id="{B300928B-8B2F-525C-F44D-2734631001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27263" y="8672513"/>
            <a:ext cx="1936750" cy="122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phic 7">
            <a:extLst>
              <a:ext uri="{FF2B5EF4-FFF2-40B4-BE49-F238E27FC236}">
                <a16:creationId xmlns:a16="http://schemas.microsoft.com/office/drawing/2014/main" id="{6777D0B8-CFCF-F372-A7A2-8BF92471BC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94875" y="5757863"/>
            <a:ext cx="3835400" cy="383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32C660ED-D98B-D01D-EB83-6EF9183E0DA4}"/>
              </a:ext>
            </a:extLst>
          </p:cNvPr>
          <p:cNvSpPr txBox="1">
            <a:spLocks noChangeArrowheads="1"/>
          </p:cNvSpPr>
          <p:nvPr/>
        </p:nvSpPr>
        <p:spPr bwMode="auto">
          <a:xfrm>
            <a:off x="1297496" y="4674535"/>
            <a:ext cx="38195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400" dirty="0">
                <a:solidFill>
                  <a:srgbClr val="3C3C3C"/>
                </a:solidFill>
                <a:latin typeface="Votorantim Sans" panose="020B0604020202020204" charset="0"/>
              </a:rPr>
              <a:t>Uno de </a:t>
            </a:r>
            <a:r>
              <a:rPr lang="en-US" altLang="en-US" sz="2400" dirty="0" err="1">
                <a:solidFill>
                  <a:srgbClr val="3C3C3C"/>
                </a:solidFill>
                <a:latin typeface="Votorantim Sans" panose="020B0604020202020204" charset="0"/>
              </a:rPr>
              <a:t>los</a:t>
            </a:r>
            <a:r>
              <a:rPr lang="en-US" altLang="en-US" sz="2400" dirty="0">
                <a:solidFill>
                  <a:srgbClr val="3C3C3C"/>
                </a:solidFill>
                <a:latin typeface="Votorantim Sans" panose="020B0604020202020204" charset="0"/>
              </a:rPr>
              <a:t> 5 </a:t>
            </a:r>
            <a:r>
              <a:rPr lang="en-US" altLang="en-US" sz="2400" dirty="0" err="1">
                <a:solidFill>
                  <a:srgbClr val="3C3C3C"/>
                </a:solidFill>
                <a:latin typeface="Votorantim Sans" panose="020B0604020202020204" charset="0"/>
              </a:rPr>
              <a:t>mayores</a:t>
            </a:r>
            <a:endParaRPr lang="pt-BR" altLang="en-US" sz="2400" dirty="0">
              <a:solidFill>
                <a:srgbClr val="3C3C3C"/>
              </a:solidFill>
              <a:latin typeface="Votorantim Sans" panose="020B0604020202020204" charset="0"/>
              <a:ea typeface="MS PGothic" panose="020B0600070205080204" pitchFamily="34" charset="-128"/>
            </a:endParaRPr>
          </a:p>
        </p:txBody>
      </p:sp>
      <p:sp>
        <p:nvSpPr>
          <p:cNvPr id="7" name="TextBox 6">
            <a:extLst>
              <a:ext uri="{FF2B5EF4-FFF2-40B4-BE49-F238E27FC236}">
                <a16:creationId xmlns:a16="http://schemas.microsoft.com/office/drawing/2014/main" id="{5B90D310-3A4A-CEED-1FCB-5C33065ED9D4}"/>
              </a:ext>
            </a:extLst>
          </p:cNvPr>
          <p:cNvSpPr txBox="1">
            <a:spLocks noChangeArrowheads="1"/>
          </p:cNvSpPr>
          <p:nvPr/>
        </p:nvSpPr>
        <p:spPr bwMode="auto">
          <a:xfrm>
            <a:off x="14667752" y="4711700"/>
            <a:ext cx="21415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400" dirty="0">
                <a:solidFill>
                  <a:srgbClr val="3C3C3C"/>
                </a:solidFill>
                <a:latin typeface="Votorantim Sans" panose="020B0604020202020204" charset="0"/>
              </a:rPr>
              <a:t>del </a:t>
            </a:r>
            <a:r>
              <a:rPr lang="en-US" altLang="en-US" sz="2400" dirty="0" err="1">
                <a:solidFill>
                  <a:srgbClr val="3C3C3C"/>
                </a:solidFill>
                <a:latin typeface="Votorantim Sans" panose="020B0604020202020204" charset="0"/>
              </a:rPr>
              <a:t>mundo</a:t>
            </a:r>
            <a:r>
              <a:rPr lang="en-US" altLang="en-US" sz="2400" dirty="0">
                <a:solidFill>
                  <a:srgbClr val="3C3C3C"/>
                </a:solidFill>
                <a:latin typeface="Votorantim Sans" panose="020B0604020202020204" charset="0"/>
              </a:rPr>
              <a:t>.</a:t>
            </a:r>
            <a:endParaRPr lang="pt-BR" altLang="en-US" sz="2400" dirty="0">
              <a:solidFill>
                <a:srgbClr val="3C3C3C"/>
              </a:solidFill>
              <a:latin typeface="Votorantim Sans" panose="020B0604020202020204" charset="0"/>
              <a:ea typeface="MS PGothic" panose="020B0600070205080204" pitchFamily="34" charset="-128"/>
            </a:endParaRPr>
          </a:p>
        </p:txBody>
      </p:sp>
      <p:pic>
        <p:nvPicPr>
          <p:cNvPr id="23" name="Graphic 10">
            <a:extLst>
              <a:ext uri="{FF2B5EF4-FFF2-40B4-BE49-F238E27FC236}">
                <a16:creationId xmlns:a16="http://schemas.microsoft.com/office/drawing/2014/main" id="{3D1F46C4-6508-0B51-47A3-AC0D5BDECE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64088" y="-11113"/>
            <a:ext cx="4492625" cy="3178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7">
            <a:extLst>
              <a:ext uri="{FF2B5EF4-FFF2-40B4-BE49-F238E27FC236}">
                <a16:creationId xmlns:a16="http://schemas.microsoft.com/office/drawing/2014/main" id="{6D629BBE-7763-E0E2-AE1F-993245B1A0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7478" t="16399" r="37611"/>
          <a:stretch>
            <a:fillRect/>
          </a:stretch>
        </p:blipFill>
        <p:spPr bwMode="auto">
          <a:xfrm>
            <a:off x="3142502" y="1686485"/>
            <a:ext cx="9639300" cy="825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83F49E9A-C377-DFDE-37D6-EA92C8E468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55582" t="20950" r="29903" b="52786"/>
          <a:stretch>
            <a:fillRect/>
          </a:stretch>
        </p:blipFill>
        <p:spPr bwMode="auto">
          <a:xfrm>
            <a:off x="9758363" y="2049463"/>
            <a:ext cx="2547937" cy="259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66104CBA-96E0-4809-8161-B643BAD738B6}"/>
              </a:ext>
            </a:extLst>
          </p:cNvPr>
          <p:cNvSpPr txBox="1">
            <a:spLocks noChangeArrowheads="1"/>
          </p:cNvSpPr>
          <p:nvPr/>
        </p:nvSpPr>
        <p:spPr bwMode="auto">
          <a:xfrm>
            <a:off x="4476002" y="4059238"/>
            <a:ext cx="1040765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8000">
                <a:solidFill>
                  <a:srgbClr val="FF5000"/>
                </a:solidFill>
                <a:latin typeface="Votorantim Sans Black" panose="020B0604020202020204" charset="0"/>
              </a:rPr>
              <a:t>productores de zinc</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iterate type="wd">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1250"/>
                                        <p:tgtEl>
                                          <p:spTgt spid="3"/>
                                        </p:tgtEl>
                                      </p:cBhvr>
                                    </p:animEffect>
                                  </p:childTnLst>
                                </p:cTn>
                              </p:par>
                              <p:par>
                                <p:cTn id="8" presetID="10" presetClass="entr" presetSubtype="0" fill="hold" grpId="0" nodeType="withEffect">
                                  <p:stCondLst>
                                    <p:cond delay="1100"/>
                                  </p:stCondLst>
                                  <p:iterate type="wd">
                                    <p:tmPct val="10000"/>
                                  </p:iterate>
                                  <p:childTnLst>
                                    <p:set>
                                      <p:cBhvr>
                                        <p:cTn id="9" dur="1" fill="hold">
                                          <p:stCondLst>
                                            <p:cond delay="0"/>
                                          </p:stCondLst>
                                        </p:cTn>
                                        <p:tgtEl>
                                          <p:spTgt spid="7"/>
                                        </p:tgtEl>
                                        <p:attrNameLst>
                                          <p:attrName>style.visibility</p:attrName>
                                        </p:attrNameLst>
                                      </p:cBhvr>
                                      <p:to>
                                        <p:strVal val="visible"/>
                                      </p:to>
                                    </p:set>
                                    <p:animEffect transition="in" filter="fade">
                                      <p:cBhvr>
                                        <p:cTn id="10" dur="1250"/>
                                        <p:tgtEl>
                                          <p:spTgt spid="7"/>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250"/>
                                        <p:tgtEl>
                                          <p:spTgt spid="11"/>
                                        </p:tgtEl>
                                      </p:cBhvr>
                                    </p:animEffect>
                                  </p:childTnLst>
                                </p:cTn>
                              </p:par>
                              <p:par>
                                <p:cTn id="14" presetID="64" presetClass="path" presetSubtype="0" accel="50000" decel="50000" fill="hold" grpId="1" nodeType="withEffect">
                                  <p:stCondLst>
                                    <p:cond delay="750"/>
                                  </p:stCondLst>
                                  <p:childTnLst>
                                    <p:animMotion origin="layout" path="M 0.02432 -0.05627 L 3.07414E-7 -8.03859E-7 " pathEditMode="relative" rAng="0" ptsTypes="AA">
                                      <p:cBhvr>
                                        <p:cTn id="15" dur="2000" fill="hold"/>
                                        <p:tgtEl>
                                          <p:spTgt spid="11"/>
                                        </p:tgtEl>
                                        <p:attrNameLst>
                                          <p:attrName>ppt_x</p:attrName>
                                          <p:attrName>ppt_y</p:attrName>
                                        </p:attrNameLst>
                                      </p:cBhvr>
                                      <p:rCtr x="-1221" y="2814"/>
                                    </p:animMotion>
                                  </p:childTnLst>
                                </p:cTn>
                              </p:par>
                              <p:par>
                                <p:cTn id="16" presetID="10" presetClass="entr" presetSubtype="0" fill="hold" nodeType="withEffect">
                                  <p:stCondLst>
                                    <p:cond delay="75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1250"/>
                                        <p:tgtEl>
                                          <p:spTgt spid="28"/>
                                        </p:tgtEl>
                                      </p:cBhvr>
                                    </p:animEffect>
                                  </p:childTnLst>
                                </p:cTn>
                              </p:par>
                              <p:par>
                                <p:cTn id="19" presetID="64" presetClass="path" presetSubtype="0" accel="50000" decel="50000" fill="hold" nodeType="withEffect">
                                  <p:stCondLst>
                                    <p:cond delay="750"/>
                                  </p:stCondLst>
                                  <p:childTnLst>
                                    <p:animMotion origin="layout" path="M -0.0368 0.08827 L 3.4358E-7 -3.56913E-6 " pathEditMode="relative" rAng="0" ptsTypes="AA">
                                      <p:cBhvr>
                                        <p:cTn id="20" dur="2000" fill="hold"/>
                                        <p:tgtEl>
                                          <p:spTgt spid="28"/>
                                        </p:tgtEl>
                                        <p:attrNameLst>
                                          <p:attrName>ppt_x</p:attrName>
                                          <p:attrName>ppt_y</p:attrName>
                                        </p:attrNameLst>
                                      </p:cBhvr>
                                      <p:rCtr x="1835" y="-4421"/>
                                    </p:animMotion>
                                  </p:childTnLst>
                                </p:cTn>
                              </p:par>
                              <p:par>
                                <p:cTn id="21" presetID="10" presetClass="entr" presetSubtype="0" fill="hold" nodeType="withEffect">
                                  <p:stCondLst>
                                    <p:cond delay="75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1250"/>
                                        <p:tgtEl>
                                          <p:spTgt spid="23"/>
                                        </p:tgtEl>
                                      </p:cBhvr>
                                    </p:animEffect>
                                  </p:childTnLst>
                                </p:cTn>
                              </p:par>
                              <p:par>
                                <p:cTn id="24" presetID="64" presetClass="path" presetSubtype="0" accel="50000" decel="50000" fill="hold" nodeType="withEffect">
                                  <p:stCondLst>
                                    <p:cond delay="750"/>
                                  </p:stCondLst>
                                  <p:childTnLst>
                                    <p:animMotion origin="layout" path="M 0.02432 -0.05627 L 4.71971E-6 4.85531E-6 " pathEditMode="relative" rAng="0" ptsTypes="AA">
                                      <p:cBhvr>
                                        <p:cTn id="25" dur="2000" fill="hold"/>
                                        <p:tgtEl>
                                          <p:spTgt spid="23"/>
                                        </p:tgtEl>
                                        <p:attrNameLst>
                                          <p:attrName>ppt_x</p:attrName>
                                          <p:attrName>ppt_y</p:attrName>
                                        </p:attrNameLst>
                                      </p:cBhvr>
                                      <p:rCtr x="-1221" y="2814"/>
                                    </p:animMotion>
                                  </p:childTnLst>
                                </p:cTn>
                              </p:par>
                              <p:par>
                                <p:cTn id="26" presetID="10" presetClass="entr" presetSubtype="0" fill="hold" nodeType="withEffect">
                                  <p:stCondLst>
                                    <p:cond delay="100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1250"/>
                                        <p:tgtEl>
                                          <p:spTgt spid="22"/>
                                        </p:tgtEl>
                                      </p:cBhvr>
                                    </p:animEffect>
                                  </p:childTnLst>
                                </p:cTn>
                              </p:par>
                              <p:par>
                                <p:cTn id="29" presetID="64" presetClass="path" presetSubtype="0" accel="50000" decel="50000" fill="hold" nodeType="withEffect">
                                  <p:stCondLst>
                                    <p:cond delay="1000"/>
                                  </p:stCondLst>
                                  <p:childTnLst>
                                    <p:animMotion origin="layout" path="M -0.02984 -0.04678 L 1.39241E-6 -1.18971E-6 " pathEditMode="relative" rAng="0" ptsTypes="AA">
                                      <p:cBhvr>
                                        <p:cTn id="30" dur="2750" fill="hold"/>
                                        <p:tgtEl>
                                          <p:spTgt spid="22"/>
                                        </p:tgtEl>
                                        <p:attrNameLst>
                                          <p:attrName>ppt_x</p:attrName>
                                          <p:attrName>ppt_y</p:attrName>
                                        </p:attrNameLst>
                                      </p:cBhvr>
                                      <p:rCtr x="1492" y="2331"/>
                                    </p:animMotion>
                                  </p:childTnLst>
                                </p:cTn>
                              </p:par>
                              <p:par>
                                <p:cTn id="31" presetID="10" presetClass="entr" presetSubtype="0" fill="hold" nodeType="withEffect">
                                  <p:stCondLst>
                                    <p:cond delay="125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1250"/>
                                        <p:tgtEl>
                                          <p:spTgt spid="21"/>
                                        </p:tgtEl>
                                      </p:cBhvr>
                                    </p:animEffect>
                                  </p:childTnLst>
                                </p:cTn>
                              </p:par>
                              <p:par>
                                <p:cTn id="34" presetID="64" presetClass="path" presetSubtype="0" accel="50000" decel="50000" fill="hold" nodeType="withEffect">
                                  <p:stCondLst>
                                    <p:cond delay="1250"/>
                                  </p:stCondLst>
                                  <p:childTnLst>
                                    <p:animMotion origin="layout" path="M 0.00046 0.0619 L -4.53888E-6 -2.92605E-6 " pathEditMode="relative" rAng="0" ptsTypes="AA">
                                      <p:cBhvr>
                                        <p:cTn id="35" dur="2750" fill="hold"/>
                                        <p:tgtEl>
                                          <p:spTgt spid="21"/>
                                        </p:tgtEl>
                                        <p:attrNameLst>
                                          <p:attrName>ppt_x</p:attrName>
                                          <p:attrName>ppt_y</p:attrName>
                                        </p:attrNameLst>
                                      </p:cBhvr>
                                      <p:rCtr x="-27" y="-3103"/>
                                    </p:animMotion>
                                  </p:childTnLst>
                                </p:cTn>
                              </p:par>
                              <p:par>
                                <p:cTn id="36" presetID="10" presetClass="entr" presetSubtype="0" fill="hold" nodeType="withEffect">
                                  <p:stCondLst>
                                    <p:cond delay="1250"/>
                                  </p:stCondLst>
                                  <p:childTnLst>
                                    <p:set>
                                      <p:cBhvr>
                                        <p:cTn id="37" dur="1" fill="hold">
                                          <p:stCondLst>
                                            <p:cond delay="0"/>
                                          </p:stCondLst>
                                        </p:cTn>
                                        <p:tgtEl>
                                          <p:spTgt spid="2"/>
                                        </p:tgtEl>
                                        <p:attrNameLst>
                                          <p:attrName>style.visibility</p:attrName>
                                        </p:attrNameLst>
                                      </p:cBhvr>
                                      <p:to>
                                        <p:strVal val="visible"/>
                                      </p:to>
                                    </p:set>
                                    <p:animEffect transition="in" filter="fade">
                                      <p:cBhvr>
                                        <p:cTn id="38" dur="1250"/>
                                        <p:tgtEl>
                                          <p:spTgt spid="2"/>
                                        </p:tgtEl>
                                      </p:cBhvr>
                                    </p:animEffect>
                                  </p:childTnLst>
                                </p:cTn>
                              </p:par>
                              <p:par>
                                <p:cTn id="39" presetID="10" presetClass="entr" presetSubtype="0" fill="hold" nodeType="withEffect">
                                  <p:stCondLst>
                                    <p:cond delay="250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P spid="11" grpId="0"/>
      <p:bldP spid="11"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320527" y="106907"/>
            <a:ext cx="17055245"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endParaRPr lang="en-US" sz="2592" b="1" dirty="0">
              <a:latin typeface="Verdana" panose="020B0604030504040204" pitchFamily="34" charset="0"/>
              <a:ea typeface="Verdana" panose="020B0604030504040204" pitchFamily="34" charset="0"/>
            </a:endParaRPr>
          </a:p>
        </p:txBody>
      </p:sp>
      <p:sp>
        <p:nvSpPr>
          <p:cNvPr id="2" name="Título 19">
            <a:extLst>
              <a:ext uri="{FF2B5EF4-FFF2-40B4-BE49-F238E27FC236}">
                <a16:creationId xmlns:a16="http://schemas.microsoft.com/office/drawing/2014/main" id="{348BAB26-36A2-C364-7ED7-964A4B4FAFFD}"/>
              </a:ext>
            </a:extLst>
          </p:cNvPr>
          <p:cNvSpPr txBox="1">
            <a:spLocks/>
          </p:cNvSpPr>
          <p:nvPr/>
        </p:nvSpPr>
        <p:spPr>
          <a:xfrm>
            <a:off x="690630" y="601522"/>
            <a:ext cx="13830587" cy="1168708"/>
          </a:xfrm>
          <a:prstGeom prst="rect">
            <a:avLst/>
          </a:prstGeom>
        </p:spPr>
        <p:txBody>
          <a:bodyPr vert="horz">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PE" sz="4030" b="1" dirty="0">
                <a:latin typeface="Verdana" panose="020B0604030504040204" pitchFamily="34" charset="0"/>
                <a:ea typeface="Verdana" panose="020B0604030504040204" pitchFamily="34" charset="0"/>
              </a:rPr>
              <a:t>Oportunidades para la mejora regulatoria</a:t>
            </a:r>
          </a:p>
        </p:txBody>
      </p:sp>
      <p:sp>
        <p:nvSpPr>
          <p:cNvPr id="4" name="14 CuadroTexto">
            <a:extLst>
              <a:ext uri="{FF2B5EF4-FFF2-40B4-BE49-F238E27FC236}">
                <a16:creationId xmlns:a16="http://schemas.microsoft.com/office/drawing/2014/main" id="{9317EA92-0409-AB65-8038-B872DDFD063F}"/>
              </a:ext>
            </a:extLst>
          </p:cNvPr>
          <p:cNvSpPr txBox="1"/>
          <p:nvPr/>
        </p:nvSpPr>
        <p:spPr>
          <a:xfrm>
            <a:off x="1045943" y="1714947"/>
            <a:ext cx="2874214" cy="478855"/>
          </a:xfrm>
          <a:prstGeom prst="rect">
            <a:avLst/>
          </a:prstGeom>
          <a:solidFill>
            <a:schemeClr val="bg1">
              <a:lumMod val="95000"/>
            </a:schemeClr>
          </a:solidFill>
        </p:spPr>
        <p:txBody>
          <a:bodyPr wrap="square" lIns="103667" tIns="51833" rIns="103667" bIns="51833" rtlCol="0">
            <a:noAutofit/>
          </a:bodyPr>
          <a:lstStyle/>
          <a:p>
            <a:pPr marL="411423" indent="-411423" algn="just">
              <a:buClr>
                <a:srgbClr val="C00000"/>
              </a:buClr>
              <a:buFont typeface="Wingdings" panose="05000000000000000000" pitchFamily="2" charset="2"/>
              <a:buChar char="ü"/>
            </a:pPr>
            <a:r>
              <a:rPr lang="es-PE" sz="2304" dirty="0"/>
              <a:t>Existen espacios</a:t>
            </a:r>
          </a:p>
          <a:p>
            <a:pPr algn="just">
              <a:buClr>
                <a:srgbClr val="C00000"/>
              </a:buClr>
            </a:pPr>
            <a:endParaRPr lang="es-PE" sz="2016" dirty="0"/>
          </a:p>
        </p:txBody>
      </p:sp>
      <p:pic>
        <p:nvPicPr>
          <p:cNvPr id="5" name="Imagen 4">
            <a:extLst>
              <a:ext uri="{FF2B5EF4-FFF2-40B4-BE49-F238E27FC236}">
                <a16:creationId xmlns:a16="http://schemas.microsoft.com/office/drawing/2014/main" id="{AF851387-10E5-CE47-C135-36A3DB1ED458}"/>
              </a:ext>
            </a:extLst>
          </p:cNvPr>
          <p:cNvPicPr>
            <a:picLocks noChangeAspect="1"/>
          </p:cNvPicPr>
          <p:nvPr/>
        </p:nvPicPr>
        <p:blipFill rotWithShape="1">
          <a:blip r:embed="rId4"/>
          <a:srcRect l="-1436" t="937" r="1436" b="70991"/>
          <a:stretch/>
        </p:blipFill>
        <p:spPr>
          <a:xfrm>
            <a:off x="1795976" y="3238088"/>
            <a:ext cx="3982960" cy="1709460"/>
          </a:xfrm>
          <a:prstGeom prst="rect">
            <a:avLst/>
          </a:prstGeom>
        </p:spPr>
      </p:pic>
      <p:sp>
        <p:nvSpPr>
          <p:cNvPr id="6" name="5 Rectángulo">
            <a:extLst>
              <a:ext uri="{FF2B5EF4-FFF2-40B4-BE49-F238E27FC236}">
                <a16:creationId xmlns:a16="http://schemas.microsoft.com/office/drawing/2014/main" id="{78D24858-F0E1-4FB9-5F8D-F59DB533CF8D}"/>
              </a:ext>
            </a:extLst>
          </p:cNvPr>
          <p:cNvSpPr/>
          <p:nvPr/>
        </p:nvSpPr>
        <p:spPr>
          <a:xfrm>
            <a:off x="6765966" y="5096637"/>
            <a:ext cx="4931193" cy="3017749"/>
          </a:xfrm>
          <a:prstGeom prst="rect">
            <a:avLst/>
          </a:prstGeom>
          <a:noFill/>
          <a:ln>
            <a:noFill/>
          </a:ln>
        </p:spPr>
        <p:txBody>
          <a:bodyPr wrap="square" anchor="ctr" anchorCtr="0">
            <a:spAutoFit/>
          </a:bodyPr>
          <a:lstStyle/>
          <a:p>
            <a:pPr marL="246854" indent="-246854" algn="just">
              <a:buClr>
                <a:srgbClr val="C00000"/>
              </a:buClr>
              <a:buFont typeface="Wingdings" panose="05000000000000000000" pitchFamily="2" charset="2"/>
              <a:buChar char="§"/>
            </a:pPr>
            <a:r>
              <a:rPr lang="es-MX" sz="1584" dirty="0"/>
              <a:t>Ventanilla Única.</a:t>
            </a:r>
          </a:p>
          <a:p>
            <a:pPr marL="246854" indent="-246854" algn="just">
              <a:buClr>
                <a:srgbClr val="C00000"/>
              </a:buClr>
              <a:buFont typeface="Wingdings" panose="05000000000000000000" pitchFamily="2" charset="2"/>
              <a:buChar char="§"/>
            </a:pPr>
            <a:endParaRPr lang="es-MX" sz="1584" dirty="0"/>
          </a:p>
          <a:p>
            <a:pPr marL="246854" indent="-246854" algn="just">
              <a:buClr>
                <a:srgbClr val="C00000"/>
              </a:buClr>
              <a:buFont typeface="Wingdings" panose="05000000000000000000" pitchFamily="2" charset="2"/>
              <a:buChar char="§"/>
            </a:pPr>
            <a:r>
              <a:rPr lang="es-MX" sz="1584" dirty="0"/>
              <a:t>Umbral mínimo en exploraciones.</a:t>
            </a:r>
          </a:p>
          <a:p>
            <a:pPr marL="246854" indent="-246854" algn="just">
              <a:buClr>
                <a:srgbClr val="C00000"/>
              </a:buClr>
              <a:buFont typeface="Wingdings" panose="05000000000000000000" pitchFamily="2" charset="2"/>
              <a:buChar char="§"/>
            </a:pPr>
            <a:endParaRPr lang="es-MX" sz="1584" dirty="0"/>
          </a:p>
          <a:p>
            <a:pPr marL="246854" indent="-246854" algn="just">
              <a:buClr>
                <a:srgbClr val="C00000"/>
              </a:buClr>
              <a:buFont typeface="Wingdings" panose="05000000000000000000" pitchFamily="2" charset="2"/>
              <a:buChar char="§"/>
            </a:pPr>
            <a:r>
              <a:rPr lang="es-ES" sz="1584" dirty="0"/>
              <a:t>FTA de aprobación automática</a:t>
            </a:r>
            <a:r>
              <a:rPr lang="es-PE" sz="1584" dirty="0"/>
              <a:t>.</a:t>
            </a:r>
          </a:p>
          <a:p>
            <a:pPr marL="246854" indent="-246854" algn="just">
              <a:buClr>
                <a:srgbClr val="C00000"/>
              </a:buClr>
              <a:buFont typeface="Wingdings" panose="05000000000000000000" pitchFamily="2" charset="2"/>
              <a:buChar char="§"/>
            </a:pPr>
            <a:endParaRPr lang="es-PE" sz="1584" dirty="0"/>
          </a:p>
          <a:p>
            <a:pPr marL="246854" indent="-246854" algn="just">
              <a:buClr>
                <a:srgbClr val="C00000"/>
              </a:buClr>
              <a:buFont typeface="Wingdings" panose="05000000000000000000" pitchFamily="2" charset="2"/>
              <a:buChar char="§"/>
            </a:pPr>
            <a:r>
              <a:rPr lang="es-PE" sz="1584" dirty="0"/>
              <a:t>Revisión de </a:t>
            </a:r>
            <a:r>
              <a:rPr lang="es-PE" sz="1584" dirty="0" err="1"/>
              <a:t>TdR</a:t>
            </a:r>
            <a:r>
              <a:rPr lang="es-PE" sz="1584" dirty="0"/>
              <a:t> para evitar EIA enciclopédicos.</a:t>
            </a:r>
          </a:p>
          <a:p>
            <a:pPr marL="246854" indent="-246854" algn="just">
              <a:buClr>
                <a:srgbClr val="C00000"/>
              </a:buClr>
              <a:buFont typeface="Wingdings" panose="05000000000000000000" pitchFamily="2" charset="2"/>
              <a:buChar char="§"/>
            </a:pPr>
            <a:endParaRPr lang="es-PE" sz="1584" dirty="0"/>
          </a:p>
          <a:p>
            <a:pPr marL="246854" indent="-246854" algn="just">
              <a:buClr>
                <a:srgbClr val="C00000"/>
              </a:buClr>
              <a:buFont typeface="Wingdings" panose="05000000000000000000" pitchFamily="2" charset="2"/>
              <a:buChar char="§"/>
            </a:pPr>
            <a:r>
              <a:rPr lang="es-PE" sz="1584" dirty="0"/>
              <a:t>Términos de Referencia Integrados, sin requerirse permisos de colecta.</a:t>
            </a:r>
          </a:p>
          <a:p>
            <a:pPr algn="just">
              <a:buClr>
                <a:srgbClr val="C00000"/>
              </a:buClr>
            </a:pPr>
            <a:endParaRPr lang="es-PE" sz="1584" dirty="0"/>
          </a:p>
          <a:p>
            <a:pPr marL="246854" indent="-246854" algn="just">
              <a:buClr>
                <a:srgbClr val="C00000"/>
              </a:buClr>
              <a:buFont typeface="Wingdings" panose="05000000000000000000" pitchFamily="2" charset="2"/>
              <a:buChar char="§"/>
            </a:pPr>
            <a:r>
              <a:rPr lang="es-PE" sz="1584" dirty="0"/>
              <a:t>Acuerdo previo reforzado en exploraciones.</a:t>
            </a:r>
            <a:endParaRPr lang="es-MX" sz="1584" dirty="0"/>
          </a:p>
        </p:txBody>
      </p:sp>
      <p:pic>
        <p:nvPicPr>
          <p:cNvPr id="7" name="Imagen 6">
            <a:extLst>
              <a:ext uri="{FF2B5EF4-FFF2-40B4-BE49-F238E27FC236}">
                <a16:creationId xmlns:a16="http://schemas.microsoft.com/office/drawing/2014/main" id="{D9445326-62A2-2122-CEA0-365BB4DB8CEB}"/>
              </a:ext>
            </a:extLst>
          </p:cNvPr>
          <p:cNvPicPr>
            <a:picLocks noChangeAspect="1"/>
          </p:cNvPicPr>
          <p:nvPr/>
        </p:nvPicPr>
        <p:blipFill>
          <a:blip r:embed="rId5"/>
          <a:stretch>
            <a:fillRect/>
          </a:stretch>
        </p:blipFill>
        <p:spPr>
          <a:xfrm>
            <a:off x="6913564" y="3033659"/>
            <a:ext cx="4079783" cy="1545519"/>
          </a:xfrm>
          <a:prstGeom prst="rect">
            <a:avLst/>
          </a:prstGeom>
        </p:spPr>
      </p:pic>
      <p:sp>
        <p:nvSpPr>
          <p:cNvPr id="8" name="14 CuadroTexto">
            <a:extLst>
              <a:ext uri="{FF2B5EF4-FFF2-40B4-BE49-F238E27FC236}">
                <a16:creationId xmlns:a16="http://schemas.microsoft.com/office/drawing/2014/main" id="{0A9025D9-68AD-D83A-D59B-F684EE0AA061}"/>
              </a:ext>
            </a:extLst>
          </p:cNvPr>
          <p:cNvSpPr txBox="1"/>
          <p:nvPr/>
        </p:nvSpPr>
        <p:spPr>
          <a:xfrm>
            <a:off x="10163108" y="1714945"/>
            <a:ext cx="2874214" cy="478855"/>
          </a:xfrm>
          <a:prstGeom prst="rect">
            <a:avLst/>
          </a:prstGeom>
          <a:solidFill>
            <a:schemeClr val="bg1">
              <a:lumMod val="95000"/>
            </a:schemeClr>
          </a:solidFill>
        </p:spPr>
        <p:txBody>
          <a:bodyPr wrap="square" lIns="103667" tIns="51833" rIns="103667" bIns="51833" rtlCol="0">
            <a:noAutofit/>
          </a:bodyPr>
          <a:lstStyle/>
          <a:p>
            <a:pPr marL="411423" indent="-411423" algn="just">
              <a:buClr>
                <a:srgbClr val="C00000"/>
              </a:buClr>
              <a:buFont typeface="Wingdings" panose="05000000000000000000" pitchFamily="2" charset="2"/>
              <a:buChar char="ü"/>
            </a:pPr>
            <a:r>
              <a:rPr lang="es-PE" sz="2304" dirty="0"/>
              <a:t>Existen insumos</a:t>
            </a:r>
          </a:p>
          <a:p>
            <a:pPr algn="just">
              <a:buClr>
                <a:srgbClr val="C00000"/>
              </a:buClr>
            </a:pPr>
            <a:endParaRPr lang="es-PE" sz="2016" dirty="0"/>
          </a:p>
        </p:txBody>
      </p:sp>
      <p:pic>
        <p:nvPicPr>
          <p:cNvPr id="9" name="Imagen 8">
            <a:extLst>
              <a:ext uri="{FF2B5EF4-FFF2-40B4-BE49-F238E27FC236}">
                <a16:creationId xmlns:a16="http://schemas.microsoft.com/office/drawing/2014/main" id="{7FC295FA-60C7-08CA-1CF7-DAB250B1DFD3}"/>
              </a:ext>
            </a:extLst>
          </p:cNvPr>
          <p:cNvPicPr>
            <a:picLocks noChangeAspect="1"/>
          </p:cNvPicPr>
          <p:nvPr/>
        </p:nvPicPr>
        <p:blipFill>
          <a:blip r:embed="rId6"/>
          <a:stretch>
            <a:fillRect/>
          </a:stretch>
        </p:blipFill>
        <p:spPr>
          <a:xfrm>
            <a:off x="512048" y="6244827"/>
            <a:ext cx="3884209" cy="2501694"/>
          </a:xfrm>
          <a:prstGeom prst="rect">
            <a:avLst/>
          </a:prstGeom>
        </p:spPr>
      </p:pic>
      <p:sp>
        <p:nvSpPr>
          <p:cNvPr id="10" name="Título 1">
            <a:extLst>
              <a:ext uri="{FF2B5EF4-FFF2-40B4-BE49-F238E27FC236}">
                <a16:creationId xmlns:a16="http://schemas.microsoft.com/office/drawing/2014/main" id="{AE7331ED-6374-E617-54C1-D3DF60443D82}"/>
              </a:ext>
            </a:extLst>
          </p:cNvPr>
          <p:cNvSpPr txBox="1">
            <a:spLocks/>
          </p:cNvSpPr>
          <p:nvPr/>
        </p:nvSpPr>
        <p:spPr>
          <a:xfrm>
            <a:off x="12004930" y="3642580"/>
            <a:ext cx="4724758" cy="2032366"/>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es-PE" sz="2016" i="1" dirty="0">
                <a:latin typeface="+mn-lt"/>
              </a:rPr>
              <a:t>“(…) identificar con detalle los cuellos de botella que resultan en tiempos excesivos de tramitación de los permisos de exploración y EIA, y proponer una racionalización bajo el principio de “proporcionalidad” en las obligaciones (…) existe una propuesta auspiciada por la SNMPE en el año 2018 que ofrece un buen punto de partida (…)”</a:t>
            </a:r>
          </a:p>
        </p:txBody>
      </p:sp>
      <p:sp>
        <p:nvSpPr>
          <p:cNvPr id="11" name="Marcador de texto 3">
            <a:extLst>
              <a:ext uri="{FF2B5EF4-FFF2-40B4-BE49-F238E27FC236}">
                <a16:creationId xmlns:a16="http://schemas.microsoft.com/office/drawing/2014/main" id="{71B5F00B-17B1-D521-825D-B624886770E4}"/>
              </a:ext>
            </a:extLst>
          </p:cNvPr>
          <p:cNvSpPr txBox="1">
            <a:spLocks/>
          </p:cNvSpPr>
          <p:nvPr/>
        </p:nvSpPr>
        <p:spPr>
          <a:xfrm>
            <a:off x="11930176" y="6244827"/>
            <a:ext cx="4724758" cy="6041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s-MX" sz="2016" b="1" dirty="0"/>
              <a:t>Banco Mundial, Diagnóstico del Sector Minero – Perú (2021)</a:t>
            </a:r>
          </a:p>
        </p:txBody>
      </p:sp>
      <p:sp>
        <p:nvSpPr>
          <p:cNvPr id="12" name="Cerrar llave 11">
            <a:extLst>
              <a:ext uri="{FF2B5EF4-FFF2-40B4-BE49-F238E27FC236}">
                <a16:creationId xmlns:a16="http://schemas.microsoft.com/office/drawing/2014/main" id="{40B1F58D-1339-BC47-FF56-C3F7BFF5D76F}"/>
              </a:ext>
            </a:extLst>
          </p:cNvPr>
          <p:cNvSpPr/>
          <p:nvPr/>
        </p:nvSpPr>
        <p:spPr>
          <a:xfrm rot="16200000">
            <a:off x="11464583" y="411950"/>
            <a:ext cx="271261" cy="415979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s-PE"/>
          </a:p>
        </p:txBody>
      </p:sp>
      <p:cxnSp>
        <p:nvCxnSpPr>
          <p:cNvPr id="18" name="Conector recto de flecha 17">
            <a:extLst>
              <a:ext uri="{FF2B5EF4-FFF2-40B4-BE49-F238E27FC236}">
                <a16:creationId xmlns:a16="http://schemas.microsoft.com/office/drawing/2014/main" id="{AAE23FD3-2CB4-211A-3DA5-7C4AC5BC499D}"/>
              </a:ext>
            </a:extLst>
          </p:cNvPr>
          <p:cNvCxnSpPr/>
          <p:nvPr/>
        </p:nvCxnSpPr>
        <p:spPr>
          <a:xfrm>
            <a:off x="2690944" y="2420034"/>
            <a:ext cx="686273" cy="59182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Conector recto de flecha 18">
            <a:extLst>
              <a:ext uri="{FF2B5EF4-FFF2-40B4-BE49-F238E27FC236}">
                <a16:creationId xmlns:a16="http://schemas.microsoft.com/office/drawing/2014/main" id="{A92E5D69-FBAF-64ED-B377-E76EC1206338}"/>
              </a:ext>
            </a:extLst>
          </p:cNvPr>
          <p:cNvCxnSpPr/>
          <p:nvPr/>
        </p:nvCxnSpPr>
        <p:spPr>
          <a:xfrm flipH="1">
            <a:off x="856131" y="2420034"/>
            <a:ext cx="1176507" cy="367258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90628308"/>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320527" y="106907"/>
            <a:ext cx="17055245"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PE" sz="2800" b="1" dirty="0">
                <a:latin typeface="Verdana" panose="020B0604030504040204" pitchFamily="34" charset="0"/>
                <a:ea typeface="Verdana" panose="020B0604030504040204" pitchFamily="34" charset="0"/>
              </a:rPr>
              <a:t> </a:t>
            </a:r>
            <a:r>
              <a:rPr lang="es-PE" sz="4030" b="1" dirty="0">
                <a:latin typeface="Verdana" panose="020B0604030504040204" pitchFamily="34" charset="0"/>
                <a:ea typeface="Verdana" panose="020B0604030504040204" pitchFamily="34" charset="0"/>
              </a:rPr>
              <a:t>Normas Publicadas</a:t>
            </a:r>
            <a:endParaRPr lang="en-US" sz="4030" b="1" dirty="0">
              <a:latin typeface="Verdana" panose="020B0604030504040204" pitchFamily="34" charset="0"/>
              <a:ea typeface="Verdana" panose="020B0604030504040204" pitchFamily="34" charset="0"/>
            </a:endParaRPr>
          </a:p>
        </p:txBody>
      </p:sp>
      <p:sp>
        <p:nvSpPr>
          <p:cNvPr id="8" name="Rectangle 1">
            <a:extLst>
              <a:ext uri="{FF2B5EF4-FFF2-40B4-BE49-F238E27FC236}">
                <a16:creationId xmlns:a16="http://schemas.microsoft.com/office/drawing/2014/main" id="{B2E10FCF-63B9-4E0C-187B-80F502043B48}"/>
              </a:ext>
            </a:extLst>
          </p:cNvPr>
          <p:cNvSpPr>
            <a:spLocks noChangeArrowheads="1"/>
          </p:cNvSpPr>
          <p:nvPr/>
        </p:nvSpPr>
        <p:spPr bwMode="auto">
          <a:xfrm>
            <a:off x="2524846" y="2658371"/>
            <a:ext cx="13129136" cy="2897915"/>
          </a:xfrm>
          <a:prstGeom prst="rect">
            <a:avLst/>
          </a:prstGeom>
          <a:solidFill>
            <a:schemeClr val="bg1">
              <a:lumMod val="95000"/>
            </a:schemeClr>
          </a:solidFill>
          <a:ln>
            <a:noFill/>
          </a:ln>
          <a:effectLst>
            <a:outerShdw blurRad="50800" dist="38100" dir="5400000" algn="t" rotWithShape="0">
              <a:prstClr val="black">
                <a:alpha val="40000"/>
              </a:prstClr>
            </a:outerShdw>
          </a:effectLst>
        </p:spPr>
        <p:txBody>
          <a:bodyPr vert="horz" wrap="square" lIns="119387" tIns="59693" rIns="119387" bIns="59693" numCol="1" anchor="ctr" anchorCtr="0" compatLnSpc="1">
            <a:prstTxWarp prst="textNoShape">
              <a:avLst/>
            </a:prstTxWarp>
            <a:spAutoFit/>
          </a:bodyPr>
          <a:lstStyle/>
          <a:p>
            <a:pPr marL="596925" indent="-596925" algn="just" defTabSz="1193850" eaLnBrk="0" hangingPunct="0">
              <a:buFont typeface="Wingdings" panose="05000000000000000000" pitchFamily="2" charset="2"/>
              <a:buChar char="ü"/>
            </a:pPr>
            <a:r>
              <a:rPr lang="es-PE" sz="2600" dirty="0">
                <a:solidFill>
                  <a:schemeClr val="dk1"/>
                </a:solidFill>
                <a:ea typeface="Calibri" panose="020F0502020204030204" pitchFamily="34" charset="0"/>
              </a:rPr>
              <a:t>Incentivar la eficiencia en la producción minera</a:t>
            </a:r>
          </a:p>
          <a:p>
            <a:pPr marL="518851" algn="just" defTabSz="1193850" eaLnBrk="0" hangingPunct="0"/>
            <a:r>
              <a:rPr lang="es-PE" sz="2600" dirty="0">
                <a:solidFill>
                  <a:schemeClr val="dk1"/>
                </a:solidFill>
                <a:ea typeface="Calibri" panose="020F0502020204030204" pitchFamily="34" charset="0"/>
              </a:rPr>
              <a:t>	- Ejemplo: capacidad de planta</a:t>
            </a:r>
          </a:p>
          <a:p>
            <a:pPr marL="596925" indent="-596925" algn="just" defTabSz="1193850" eaLnBrk="0" hangingPunct="0">
              <a:buFont typeface="Wingdings" panose="05000000000000000000" pitchFamily="2" charset="2"/>
              <a:buChar char="ü"/>
            </a:pPr>
            <a:r>
              <a:rPr lang="es-PE" altLang="es-PE" sz="2600" dirty="0">
                <a:solidFill>
                  <a:schemeClr val="dk1"/>
                </a:solidFill>
                <a:ea typeface="Calibri" panose="020F0502020204030204" pitchFamily="34" charset="0"/>
              </a:rPr>
              <a:t>Reactivación de las exploraciones</a:t>
            </a:r>
          </a:p>
          <a:p>
            <a:pPr algn="just" defTabSz="1193850" eaLnBrk="0" hangingPunct="0"/>
            <a:r>
              <a:rPr lang="es-PE" sz="2600" dirty="0">
                <a:solidFill>
                  <a:schemeClr val="dk1"/>
                </a:solidFill>
                <a:ea typeface="Calibri" panose="020F0502020204030204" pitchFamily="34" charset="0"/>
              </a:rPr>
              <a:t>	- Ejemplo: </a:t>
            </a:r>
            <a:r>
              <a:rPr lang="es-PE" sz="2600" dirty="0" err="1">
                <a:solidFill>
                  <a:schemeClr val="dk1"/>
                </a:solidFill>
                <a:ea typeface="Calibri" panose="020F0502020204030204" pitchFamily="34" charset="0"/>
              </a:rPr>
              <a:t>TdR</a:t>
            </a:r>
            <a:r>
              <a:rPr lang="es-PE" sz="2600" dirty="0">
                <a:solidFill>
                  <a:schemeClr val="dk1"/>
                </a:solidFill>
                <a:ea typeface="Calibri" panose="020F0502020204030204" pitchFamily="34" charset="0"/>
              </a:rPr>
              <a:t> FTA</a:t>
            </a:r>
            <a:endParaRPr lang="es-PE" altLang="es-PE" sz="2600" dirty="0">
              <a:solidFill>
                <a:schemeClr val="dk1"/>
              </a:solidFill>
              <a:ea typeface="Calibri" panose="020F0502020204030204" pitchFamily="34" charset="0"/>
            </a:endParaRPr>
          </a:p>
          <a:p>
            <a:pPr marL="596925" indent="-596925" algn="just" defTabSz="1193850" eaLnBrk="0" hangingPunct="0">
              <a:buFont typeface="Wingdings" panose="05000000000000000000" pitchFamily="2" charset="2"/>
              <a:buChar char="ü"/>
            </a:pPr>
            <a:r>
              <a:rPr lang="es-PE" altLang="es-PE" sz="2600" dirty="0"/>
              <a:t>Optimización del proceso de certificación ambiental</a:t>
            </a:r>
          </a:p>
          <a:p>
            <a:pPr algn="just" defTabSz="1193850" eaLnBrk="0" hangingPunct="0"/>
            <a:r>
              <a:rPr lang="es-PE" sz="2600" dirty="0">
                <a:solidFill>
                  <a:schemeClr val="dk1"/>
                </a:solidFill>
                <a:ea typeface="Calibri" panose="020F0502020204030204" pitchFamily="34" charset="0"/>
              </a:rPr>
              <a:t>	- Ejemplo: nueva norma PAD, uniformizar etapa de admisibilidad</a:t>
            </a:r>
          </a:p>
          <a:p>
            <a:pPr algn="just" defTabSz="1193850" eaLnBrk="0" hangingPunct="0"/>
            <a:endParaRPr lang="es-PE" altLang="es-PE" sz="2448" dirty="0"/>
          </a:p>
        </p:txBody>
      </p:sp>
    </p:spTree>
    <p:extLst>
      <p:ext uri="{BB962C8B-B14F-4D97-AF65-F5344CB8AC3E}">
        <p14:creationId xmlns:p14="http://schemas.microsoft.com/office/powerpoint/2010/main" val="2441284493"/>
      </p:ext>
    </p:ext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Un puente de noche&#10;&#10;Descripción generada automáticamente con confianza media">
            <a:extLst>
              <a:ext uri="{FF2B5EF4-FFF2-40B4-BE49-F238E27FC236}">
                <a16:creationId xmlns:a16="http://schemas.microsoft.com/office/drawing/2014/main" id="{3D3DF7BE-D185-4F21-A68D-D098C394BD84}"/>
              </a:ext>
            </a:extLst>
          </p:cNvPr>
          <p:cNvPicPr>
            <a:picLocks noChangeAspect="1"/>
          </p:cNvPicPr>
          <p:nvPr/>
        </p:nvPicPr>
        <p:blipFill rotWithShape="1">
          <a:blip r:embed="rId3">
            <a:extLst>
              <a:ext uri="{28A0092B-C50C-407E-A947-70E740481C1C}">
                <a14:useLocalDpi xmlns:a14="http://schemas.microsoft.com/office/drawing/2010/main" val="0"/>
              </a:ext>
            </a:extLst>
          </a:blip>
          <a:srcRect t="10243" r="67" b="5440"/>
          <a:stretch/>
        </p:blipFill>
        <p:spPr>
          <a:xfrm>
            <a:off x="1762" y="-1"/>
            <a:ext cx="17554224" cy="9874251"/>
          </a:xfrm>
          <a:prstGeom prst="rect">
            <a:avLst/>
          </a:prstGeom>
        </p:spPr>
      </p:pic>
      <p:sp>
        <p:nvSpPr>
          <p:cNvPr id="14" name="Rectángulo 13">
            <a:extLst>
              <a:ext uri="{FF2B5EF4-FFF2-40B4-BE49-F238E27FC236}">
                <a16:creationId xmlns:a16="http://schemas.microsoft.com/office/drawing/2014/main" id="{3B351DF0-AF6C-49B1-9987-8FB9BD3CE42C}"/>
              </a:ext>
            </a:extLst>
          </p:cNvPr>
          <p:cNvSpPr/>
          <p:nvPr/>
        </p:nvSpPr>
        <p:spPr>
          <a:xfrm>
            <a:off x="346197" y="297600"/>
            <a:ext cx="16865357" cy="930676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Rectángulo 14">
            <a:extLst>
              <a:ext uri="{FF2B5EF4-FFF2-40B4-BE49-F238E27FC236}">
                <a16:creationId xmlns:a16="http://schemas.microsoft.com/office/drawing/2014/main" id="{0C5B2314-1F29-4739-92D7-3F6B7A3496BB}"/>
              </a:ext>
            </a:extLst>
          </p:cNvPr>
          <p:cNvSpPr/>
          <p:nvPr/>
        </p:nvSpPr>
        <p:spPr>
          <a:xfrm>
            <a:off x="365961" y="9448343"/>
            <a:ext cx="16845593" cy="14216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6" name="Rectángulo 15">
            <a:extLst>
              <a:ext uri="{FF2B5EF4-FFF2-40B4-BE49-F238E27FC236}">
                <a16:creationId xmlns:a16="http://schemas.microsoft.com/office/drawing/2014/main" id="{61B456DF-CBD6-4B5C-A61E-8BF3FCEFF894}"/>
              </a:ext>
            </a:extLst>
          </p:cNvPr>
          <p:cNvSpPr/>
          <p:nvPr/>
        </p:nvSpPr>
        <p:spPr>
          <a:xfrm>
            <a:off x="251252" y="563002"/>
            <a:ext cx="189889" cy="1000084"/>
          </a:xfrm>
          <a:prstGeom prst="rect">
            <a:avLst/>
          </a:prstGeom>
          <a:solidFill>
            <a:srgbClr val="FF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7" name="Título 1">
            <a:extLst>
              <a:ext uri="{FF2B5EF4-FFF2-40B4-BE49-F238E27FC236}">
                <a16:creationId xmlns:a16="http://schemas.microsoft.com/office/drawing/2014/main" id="{B697ADA6-36E9-4670-B783-F093F6F7B08D}"/>
              </a:ext>
            </a:extLst>
          </p:cNvPr>
          <p:cNvSpPr txBox="1">
            <a:spLocks/>
          </p:cNvSpPr>
          <p:nvPr/>
        </p:nvSpPr>
        <p:spPr>
          <a:xfrm>
            <a:off x="320527" y="106907"/>
            <a:ext cx="17055245" cy="1912274"/>
          </a:xfrm>
          <a:prstGeom prst="rect">
            <a:avLst/>
          </a:prstGeom>
        </p:spPr>
        <p:txBody>
          <a:bodyPr vert="horz" lIns="131657" tIns="65828" rIns="131657" bIns="65828"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864"/>
              </a:spcAft>
            </a:pPr>
            <a:r>
              <a:rPr lang="es-PE" sz="2800" b="1" dirty="0">
                <a:latin typeface="Verdana" panose="020B0604030504040204" pitchFamily="34" charset="0"/>
                <a:ea typeface="Verdana" panose="020B0604030504040204" pitchFamily="34" charset="0"/>
              </a:rPr>
              <a:t> </a:t>
            </a:r>
            <a:r>
              <a:rPr lang="es-PE" sz="4030" b="1" dirty="0">
                <a:latin typeface="Verdana" panose="020B0604030504040204" pitchFamily="34" charset="0"/>
                <a:ea typeface="Verdana" panose="020B0604030504040204" pitchFamily="34" charset="0"/>
              </a:rPr>
              <a:t>Agenda Pendiente</a:t>
            </a:r>
            <a:endParaRPr lang="en-US" sz="4030" b="1" dirty="0">
              <a:latin typeface="Verdana" panose="020B0604030504040204" pitchFamily="34" charset="0"/>
              <a:ea typeface="Verdana" panose="020B0604030504040204" pitchFamily="34" charset="0"/>
            </a:endParaRPr>
          </a:p>
        </p:txBody>
      </p:sp>
      <p:sp>
        <p:nvSpPr>
          <p:cNvPr id="8" name="Rectangle 1">
            <a:extLst>
              <a:ext uri="{FF2B5EF4-FFF2-40B4-BE49-F238E27FC236}">
                <a16:creationId xmlns:a16="http://schemas.microsoft.com/office/drawing/2014/main" id="{B2E10FCF-63B9-4E0C-187B-80F502043B48}"/>
              </a:ext>
            </a:extLst>
          </p:cNvPr>
          <p:cNvSpPr>
            <a:spLocks noChangeArrowheads="1"/>
          </p:cNvSpPr>
          <p:nvPr/>
        </p:nvSpPr>
        <p:spPr bwMode="auto">
          <a:xfrm>
            <a:off x="2214306" y="1966493"/>
            <a:ext cx="13129136" cy="5237017"/>
          </a:xfrm>
          <a:prstGeom prst="rect">
            <a:avLst/>
          </a:prstGeom>
          <a:solidFill>
            <a:schemeClr val="bg1">
              <a:lumMod val="95000"/>
            </a:schemeClr>
          </a:solidFill>
          <a:ln>
            <a:noFill/>
          </a:ln>
          <a:effectLst>
            <a:outerShdw blurRad="50800" dist="38100" dir="5400000" algn="t" rotWithShape="0">
              <a:prstClr val="black">
                <a:alpha val="40000"/>
              </a:prstClr>
            </a:outerShdw>
          </a:effectLst>
        </p:spPr>
        <p:txBody>
          <a:bodyPr vert="horz" wrap="square" lIns="119387" tIns="59693" rIns="119387" bIns="59693" numCol="1" anchor="ctr" anchorCtr="0" compatLnSpc="1">
            <a:prstTxWarp prst="textNoShape">
              <a:avLst/>
            </a:prstTxWarp>
            <a:spAutoFit/>
          </a:bodyPr>
          <a:lstStyle/>
          <a:p>
            <a:pPr marL="658277" indent="-658277" algn="just">
              <a:buFont typeface="+mj-lt"/>
              <a:buAutoNum type="arabicPeriod"/>
            </a:pPr>
            <a:endParaRPr lang="es-PE" sz="2800" kern="0" dirty="0">
              <a:ea typeface="Times New Roman" panose="02020603050405020304" pitchFamily="18" charset="0"/>
              <a:cs typeface="Times New Roman" panose="02020603050405020304" pitchFamily="18" charset="0"/>
            </a:endParaRPr>
          </a:p>
          <a:p>
            <a:pPr marL="658277" indent="-658277" algn="just">
              <a:buFont typeface="+mj-lt"/>
              <a:buAutoNum type="arabicPeriod"/>
            </a:pPr>
            <a:r>
              <a:rPr lang="es-PE" sz="2800" kern="0" dirty="0">
                <a:ea typeface="Times New Roman" panose="02020603050405020304" pitchFamily="18" charset="0"/>
                <a:cs typeface="Times New Roman" panose="02020603050405020304" pitchFamily="18" charset="0"/>
              </a:rPr>
              <a:t>Mejoras a la normativa de SUCAMEC.</a:t>
            </a:r>
            <a:endParaRPr lang="es-PE" sz="2800" kern="100" dirty="0">
              <a:ea typeface="Times New Roman" panose="02020603050405020304" pitchFamily="18" charset="0"/>
            </a:endParaRPr>
          </a:p>
          <a:p>
            <a:pPr marL="658277" indent="-658277" algn="just">
              <a:buFont typeface="+mj-lt"/>
              <a:buAutoNum type="arabicPeriod"/>
            </a:pPr>
            <a:r>
              <a:rPr lang="es-PE" sz="2800" kern="0" dirty="0">
                <a:ea typeface="Times New Roman" panose="02020603050405020304" pitchFamily="18" charset="0"/>
              </a:rPr>
              <a:t>Mejoras a la normativa de ANA.</a:t>
            </a:r>
          </a:p>
          <a:p>
            <a:pPr marL="658277" indent="-658277" algn="just">
              <a:buFont typeface="+mj-lt"/>
              <a:buAutoNum type="arabicPeriod"/>
            </a:pPr>
            <a:r>
              <a:rPr lang="es-PE" sz="2800" kern="0" dirty="0">
                <a:ea typeface="Aptos" panose="020B0004020202020204" pitchFamily="34" charset="0"/>
              </a:rPr>
              <a:t>Consulta previa en exploraciones.</a:t>
            </a:r>
            <a:endParaRPr lang="es-PE" sz="2800" kern="100" dirty="0">
              <a:ea typeface="Aptos" panose="020B0004020202020204" pitchFamily="34" charset="0"/>
            </a:endParaRPr>
          </a:p>
          <a:p>
            <a:pPr marL="658277" indent="-658277" algn="just">
              <a:buFont typeface="+mj-lt"/>
              <a:buAutoNum type="arabicPeriod"/>
            </a:pPr>
            <a:r>
              <a:rPr lang="es-PE" sz="2800" kern="0" dirty="0">
                <a:ea typeface="Times New Roman" panose="02020603050405020304" pitchFamily="18" charset="0"/>
              </a:rPr>
              <a:t>Simplificar </a:t>
            </a:r>
            <a:r>
              <a:rPr lang="es-PE" sz="2800" kern="0" dirty="0" err="1">
                <a:ea typeface="Times New Roman" panose="02020603050405020304" pitchFamily="18" charset="0"/>
              </a:rPr>
              <a:t>TdR</a:t>
            </a:r>
            <a:r>
              <a:rPr lang="es-PE" sz="2800" kern="0" dirty="0">
                <a:ea typeface="Times New Roman" panose="02020603050405020304" pitchFamily="18" charset="0"/>
              </a:rPr>
              <a:t> para DIA, EIA-</a:t>
            </a:r>
            <a:r>
              <a:rPr lang="es-PE" sz="2800" kern="0" dirty="0" err="1">
                <a:ea typeface="Times New Roman" panose="02020603050405020304" pitchFamily="18" charset="0"/>
              </a:rPr>
              <a:t>sd</a:t>
            </a:r>
            <a:r>
              <a:rPr lang="es-PE" sz="2800" kern="0" dirty="0">
                <a:ea typeface="Times New Roman" panose="02020603050405020304" pitchFamily="18" charset="0"/>
              </a:rPr>
              <a:t> y EIA-d.</a:t>
            </a:r>
            <a:endParaRPr lang="es-PE" sz="2800" kern="100" dirty="0">
              <a:ea typeface="Aptos" panose="020B0004020202020204" pitchFamily="34" charset="0"/>
            </a:endParaRPr>
          </a:p>
          <a:p>
            <a:pPr marL="658277" indent="-658277" algn="just">
              <a:buFont typeface="+mj-lt"/>
              <a:buAutoNum type="arabicPeriod"/>
            </a:pPr>
            <a:r>
              <a:rPr lang="es-PE" sz="2800" kern="0" dirty="0">
                <a:ea typeface="Times New Roman" panose="02020603050405020304" pitchFamily="18" charset="0"/>
              </a:rPr>
              <a:t>Continuar promoviendo el silencio positivo y aprobación automática.</a:t>
            </a:r>
          </a:p>
          <a:p>
            <a:pPr marL="658277" indent="-658277" algn="just">
              <a:buFont typeface="+mj-lt"/>
              <a:buAutoNum type="arabicPeriod"/>
            </a:pPr>
            <a:r>
              <a:rPr lang="es-PE" sz="2800" kern="0" dirty="0">
                <a:ea typeface="Times New Roman" panose="02020603050405020304" pitchFamily="18" charset="0"/>
              </a:rPr>
              <a:t>Ampliar supuestos de comunicación en el sector ambiente.</a:t>
            </a:r>
          </a:p>
          <a:p>
            <a:pPr marL="658277" indent="-658277" algn="just">
              <a:buFont typeface="+mj-lt"/>
              <a:buAutoNum type="arabicPeriod"/>
            </a:pPr>
            <a:r>
              <a:rPr lang="es-PE" sz="2800" kern="0" dirty="0">
                <a:ea typeface="Times New Roman" panose="02020603050405020304" pitchFamily="18" charset="0"/>
              </a:rPr>
              <a:t>Revisar la clasificación anticipada (subir a 80 el número de plataformas para DIA).</a:t>
            </a:r>
            <a:endParaRPr lang="es-PE" sz="2800" kern="100" dirty="0">
              <a:ea typeface="Aptos" panose="020B0004020202020204" pitchFamily="34" charset="0"/>
            </a:endParaRPr>
          </a:p>
          <a:p>
            <a:pPr marL="658277" indent="-658277" algn="just">
              <a:buFont typeface="+mj-lt"/>
              <a:buAutoNum type="arabicPeriod"/>
            </a:pPr>
            <a:r>
              <a:rPr lang="es-PE" sz="2800" kern="0" dirty="0">
                <a:ea typeface="Times New Roman" panose="02020603050405020304" pitchFamily="18" charset="0"/>
                <a:cs typeface="Times New Roman" panose="02020603050405020304" pitchFamily="18" charset="0"/>
              </a:rPr>
              <a:t>Acuerdo previo reforzado y propuestas de optimización sobre consulta previa.</a:t>
            </a:r>
            <a:endParaRPr lang="es-PE" sz="2800" kern="100" dirty="0">
              <a:ea typeface="Aptos" panose="020B0004020202020204" pitchFamily="34" charset="0"/>
              <a:cs typeface="Times New Roman" panose="02020603050405020304" pitchFamily="18" charset="0"/>
            </a:endParaRPr>
          </a:p>
          <a:p>
            <a:pPr marL="658277" indent="-658277" algn="just">
              <a:buFont typeface="+mj-lt"/>
              <a:buAutoNum type="arabicPeriod"/>
            </a:pPr>
            <a:r>
              <a:rPr lang="es-PE" sz="2800" kern="0" dirty="0">
                <a:ea typeface="Times New Roman" panose="02020603050405020304" pitchFamily="18" charset="0"/>
                <a:cs typeface="Times New Roman" panose="02020603050405020304" pitchFamily="18" charset="0"/>
              </a:rPr>
              <a:t>Simplificar el Reglamento de Intervenciones Arqueológicas (CIRA).</a:t>
            </a:r>
            <a:endParaRPr lang="es-PE" sz="2800" kern="100" dirty="0">
              <a:ea typeface="Aptos" panose="020B0004020202020204" pitchFamily="34" charset="0"/>
              <a:cs typeface="Times New Roman" panose="02020603050405020304" pitchFamily="18" charset="0"/>
            </a:endParaRPr>
          </a:p>
          <a:p>
            <a:pPr marL="658277" indent="-658277" algn="just">
              <a:buFont typeface="+mj-lt"/>
              <a:buAutoNum type="arabicPeriod"/>
            </a:pPr>
            <a:r>
              <a:rPr lang="es-PE" sz="2800" kern="0" dirty="0">
                <a:ea typeface="Times New Roman" panose="02020603050405020304" pitchFamily="18" charset="0"/>
                <a:cs typeface="Times New Roman" panose="02020603050405020304" pitchFamily="18" charset="0"/>
              </a:rPr>
              <a:t>Mejoras a la normativa y criterios del OEFA.</a:t>
            </a:r>
            <a:endParaRPr lang="es-PE" sz="2800" kern="100" dirty="0">
              <a:ea typeface="Aptos" panose="020B0004020202020204" pitchFamily="34" charset="0"/>
              <a:cs typeface="Times New Roman" panose="02020603050405020304" pitchFamily="18" charset="0"/>
            </a:endParaRPr>
          </a:p>
          <a:p>
            <a:pPr algn="just" defTabSz="1193850" eaLnBrk="0" hangingPunct="0"/>
            <a:endParaRPr lang="es-PE" altLang="es-PE" sz="2448" dirty="0"/>
          </a:p>
        </p:txBody>
      </p:sp>
    </p:spTree>
    <p:extLst>
      <p:ext uri="{BB962C8B-B14F-4D97-AF65-F5344CB8AC3E}">
        <p14:creationId xmlns:p14="http://schemas.microsoft.com/office/powerpoint/2010/main" val="1757286016"/>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114">
            <a:extLst>
              <a:ext uri="{FF2B5EF4-FFF2-40B4-BE49-F238E27FC236}">
                <a16:creationId xmlns:a16="http://schemas.microsoft.com/office/drawing/2014/main" id="{A30BDE19-1D8C-6B13-AE37-CA8E6D8E83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3" y="3175"/>
            <a:ext cx="17557750" cy="987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1B4A599D-3ED7-AF23-68E7-60F6590A11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0"/>
            <a:ext cx="17554575" cy="987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D985C18A-32F1-600F-C3EB-328FD2CAEB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0"/>
            <a:ext cx="17554575" cy="987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9" name="Graphic 4">
            <a:extLst>
              <a:ext uri="{FF2B5EF4-FFF2-40B4-BE49-F238E27FC236}">
                <a16:creationId xmlns:a16="http://schemas.microsoft.com/office/drawing/2014/main" id="{8F844B1D-F51E-BCB9-670C-66A673649C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927263" y="9988550"/>
            <a:ext cx="1936750" cy="122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0" name="Graphic 7">
            <a:extLst>
              <a:ext uri="{FF2B5EF4-FFF2-40B4-BE49-F238E27FC236}">
                <a16:creationId xmlns:a16="http://schemas.microsoft.com/office/drawing/2014/main" id="{2FEFE8AE-ECF9-FA7E-08BB-D9A8B2D931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4300" y="5757863"/>
            <a:ext cx="3835400" cy="383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2" name="Graphic 10">
            <a:extLst>
              <a:ext uri="{FF2B5EF4-FFF2-40B4-BE49-F238E27FC236}">
                <a16:creationId xmlns:a16="http://schemas.microsoft.com/office/drawing/2014/main" id="{C839808B-8EF5-BC7C-A85D-7D1BBB3950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32563" y="-3198813"/>
            <a:ext cx="4492625" cy="317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7" name="TextBox 126">
            <a:extLst>
              <a:ext uri="{FF2B5EF4-FFF2-40B4-BE49-F238E27FC236}">
                <a16:creationId xmlns:a16="http://schemas.microsoft.com/office/drawing/2014/main" id="{3E2F824A-DE81-6D6C-C8C2-54393F490C14}"/>
              </a:ext>
            </a:extLst>
          </p:cNvPr>
          <p:cNvSpPr txBox="1"/>
          <p:nvPr/>
        </p:nvSpPr>
        <p:spPr>
          <a:xfrm>
            <a:off x="12830297" y="3147956"/>
            <a:ext cx="3375984" cy="1061829"/>
          </a:xfrm>
          <a:prstGeom prst="rect">
            <a:avLst/>
          </a:prstGeom>
          <a:noFill/>
        </p:spPr>
        <p:txBody>
          <a:bodyPr wrap="square">
            <a:spAutoFit/>
          </a:bodyPr>
          <a:lstStyle/>
          <a:p>
            <a:pPr fontAlgn="auto">
              <a:spcBef>
                <a:spcPts val="0"/>
              </a:spcBef>
              <a:spcAft>
                <a:spcPts val="0"/>
              </a:spcAft>
              <a:defRPr sz="2100">
                <a:solidFill>
                  <a:prstClr val="white"/>
                </a:solidFill>
                <a:latin typeface="Votorantim Sans" panose="02010503030202050203" pitchFamily="2" charset="0"/>
              </a:defRPr>
            </a:pPr>
            <a:r>
              <a:rPr sz="2100" dirty="0" err="1">
                <a:solidFill>
                  <a:prstClr val="white"/>
                </a:solidFill>
                <a:latin typeface="Votorantim Sans Medium" panose="00000600000000000000" pitchFamily="2" charset="0"/>
                <a:cs typeface="+mn-cs"/>
              </a:rPr>
              <a:t>Cotizamos</a:t>
            </a:r>
            <a:r>
              <a:rPr sz="2100" dirty="0">
                <a:solidFill>
                  <a:prstClr val="white"/>
                </a:solidFill>
                <a:latin typeface="Votorantim Sans Medium" panose="00000600000000000000" pitchFamily="2" charset="0"/>
                <a:cs typeface="+mn-cs"/>
              </a:rPr>
              <a:t> </a:t>
            </a:r>
            <a:r>
              <a:rPr sz="2100" dirty="0" err="1">
                <a:solidFill>
                  <a:prstClr val="white"/>
                </a:solidFill>
                <a:latin typeface="Votorantim Sans Medium" panose="00000600000000000000" pitchFamily="2" charset="0"/>
                <a:cs typeface="+mn-cs"/>
              </a:rPr>
              <a:t>en</a:t>
            </a:r>
            <a:r>
              <a:rPr sz="2100" dirty="0">
                <a:solidFill>
                  <a:prstClr val="white"/>
                </a:solidFill>
                <a:latin typeface="Votorantim Sans Medium" panose="00000600000000000000" pitchFamily="2" charset="0"/>
                <a:cs typeface="+mn-cs"/>
              </a:rPr>
              <a:t> la </a:t>
            </a:r>
            <a:r>
              <a:rPr sz="2100" dirty="0" err="1">
                <a:solidFill>
                  <a:prstClr val="white"/>
                </a:solidFill>
                <a:latin typeface="Votorantim Sans Medium" panose="00000600000000000000" pitchFamily="2" charset="0"/>
                <a:cs typeface="+mn-cs"/>
              </a:rPr>
              <a:t>bolsa</a:t>
            </a:r>
            <a:r>
              <a:rPr sz="2100" dirty="0">
                <a:solidFill>
                  <a:prstClr val="white"/>
                </a:solidFill>
                <a:latin typeface="Votorantim Sans Medium" panose="00000600000000000000" pitchFamily="2" charset="0"/>
                <a:cs typeface="+mn-cs"/>
              </a:rPr>
              <a:t> </a:t>
            </a:r>
            <a:br>
              <a:rPr lang="pt-BR" sz="2100" dirty="0">
                <a:solidFill>
                  <a:prstClr val="white"/>
                </a:solidFill>
                <a:latin typeface="Votorantim Sans Medium" panose="00000600000000000000" pitchFamily="2" charset="0"/>
                <a:cs typeface="+mn-cs"/>
              </a:rPr>
            </a:br>
            <a:r>
              <a:rPr sz="2100" dirty="0">
                <a:solidFill>
                  <a:prstClr val="white"/>
                </a:solidFill>
                <a:latin typeface="Votorantim Sans Medium" panose="00000600000000000000" pitchFamily="2" charset="0"/>
                <a:cs typeface="+mn-cs"/>
              </a:rPr>
              <a:t>de </a:t>
            </a:r>
            <a:r>
              <a:rPr sz="2100" dirty="0" err="1">
                <a:solidFill>
                  <a:prstClr val="white"/>
                </a:solidFill>
                <a:latin typeface="Votorantim Sans Medium" panose="00000600000000000000" pitchFamily="2" charset="0"/>
                <a:cs typeface="+mn-cs"/>
              </a:rPr>
              <a:t>valores</a:t>
            </a:r>
            <a:r>
              <a:rPr sz="2100" dirty="0">
                <a:solidFill>
                  <a:prstClr val="white"/>
                </a:solidFill>
                <a:latin typeface="Votorantim Sans Medium" panose="00000600000000000000" pitchFamily="2" charset="0"/>
                <a:cs typeface="+mn-cs"/>
              </a:rPr>
              <a:t> de Nueva York (NYSE)</a:t>
            </a:r>
            <a:r>
              <a:rPr lang="es-PE" sz="2100" dirty="0">
                <a:solidFill>
                  <a:prstClr val="white"/>
                </a:solidFill>
                <a:latin typeface="Votorantim Sans Medium" panose="00000600000000000000" pitchFamily="2" charset="0"/>
                <a:cs typeface="+mn-cs"/>
              </a:rPr>
              <a:t> y BVL.</a:t>
            </a:r>
            <a:endParaRPr lang="pt-BR" sz="2100" strike="sngStrike" dirty="0">
              <a:solidFill>
                <a:srgbClr val="FF0000"/>
              </a:solidFill>
              <a:latin typeface="Votorantim Sans Medium" panose="00000600000000000000" pitchFamily="2" charset="0"/>
              <a:cs typeface="+mn-cs"/>
            </a:endParaRPr>
          </a:p>
        </p:txBody>
      </p:sp>
      <p:sp>
        <p:nvSpPr>
          <p:cNvPr id="128" name="TextBox 127">
            <a:extLst>
              <a:ext uri="{FF2B5EF4-FFF2-40B4-BE49-F238E27FC236}">
                <a16:creationId xmlns:a16="http://schemas.microsoft.com/office/drawing/2014/main" id="{915BA1F3-29B8-AC5C-CC71-CD8EFBDD3CCD}"/>
              </a:ext>
            </a:extLst>
          </p:cNvPr>
          <p:cNvSpPr txBox="1">
            <a:spLocks noChangeArrowheads="1"/>
          </p:cNvSpPr>
          <p:nvPr/>
        </p:nvSpPr>
        <p:spPr bwMode="auto">
          <a:xfrm>
            <a:off x="12829609" y="5389563"/>
            <a:ext cx="3903052"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100" dirty="0" err="1">
                <a:solidFill>
                  <a:srgbClr val="FFFFFF"/>
                </a:solidFill>
                <a:latin typeface="Votorantim Sans Medium" panose="00000600000000000000" pitchFamily="2" charset="0"/>
              </a:rPr>
              <a:t>Integramos</a:t>
            </a:r>
            <a:r>
              <a:rPr lang="en-US" altLang="en-US" sz="2100" dirty="0">
                <a:solidFill>
                  <a:srgbClr val="FFFFFF"/>
                </a:solidFill>
                <a:latin typeface="Votorantim Sans Medium" panose="00000600000000000000" pitchFamily="2" charset="0"/>
              </a:rPr>
              <a:t> el </a:t>
            </a:r>
            <a:r>
              <a:rPr lang="en-US" altLang="en-US" sz="2100" dirty="0" err="1">
                <a:solidFill>
                  <a:srgbClr val="FFFFFF"/>
                </a:solidFill>
                <a:latin typeface="Votorantim Sans Medium" panose="00000600000000000000" pitchFamily="2" charset="0"/>
              </a:rPr>
              <a:t>portafolio</a:t>
            </a:r>
            <a:r>
              <a:rPr lang="en-US" altLang="en-US" sz="2100" dirty="0">
                <a:solidFill>
                  <a:srgbClr val="FFFFFF"/>
                </a:solidFill>
                <a:latin typeface="Votorantim Sans Medium" panose="00000600000000000000" pitchFamily="2" charset="0"/>
              </a:rPr>
              <a:t> </a:t>
            </a:r>
            <a:br>
              <a:rPr lang="en-US" altLang="en-US" sz="2100" dirty="0">
                <a:solidFill>
                  <a:srgbClr val="FFFFFF"/>
                </a:solidFill>
                <a:latin typeface="Votorantim Sans Medium" panose="00000600000000000000" pitchFamily="2" charset="0"/>
              </a:rPr>
            </a:br>
            <a:r>
              <a:rPr lang="en-US" altLang="en-US" sz="2100" dirty="0">
                <a:solidFill>
                  <a:srgbClr val="FFFFFF"/>
                </a:solidFill>
                <a:latin typeface="Votorantim Sans Medium" panose="00000600000000000000" pitchFamily="2" charset="0"/>
              </a:rPr>
              <a:t>de </a:t>
            </a:r>
            <a:r>
              <a:rPr lang="en-US" altLang="en-US" sz="2100" dirty="0" err="1">
                <a:solidFill>
                  <a:srgbClr val="FFFFFF"/>
                </a:solidFill>
                <a:latin typeface="Votorantim Sans Medium" panose="00000600000000000000" pitchFamily="2" charset="0"/>
              </a:rPr>
              <a:t>negocios</a:t>
            </a:r>
            <a:r>
              <a:rPr lang="en-US" altLang="en-US" sz="2100" dirty="0">
                <a:solidFill>
                  <a:srgbClr val="FFFFFF"/>
                </a:solidFill>
                <a:latin typeface="Votorantim Sans Medium" panose="00000600000000000000" pitchFamily="2" charset="0"/>
              </a:rPr>
              <a:t> de </a:t>
            </a:r>
            <a:r>
              <a:rPr lang="en-US" altLang="en-US" sz="2100" dirty="0" err="1">
                <a:solidFill>
                  <a:srgbClr val="FFFFFF"/>
                </a:solidFill>
                <a:latin typeface="Votorantim Sans Medium" panose="00000600000000000000" pitchFamily="2" charset="0"/>
              </a:rPr>
              <a:t>Votorantim</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una</a:t>
            </a:r>
            <a:r>
              <a:rPr lang="en-US" altLang="en-US" sz="2100" dirty="0">
                <a:solidFill>
                  <a:srgbClr val="FFFFFF"/>
                </a:solidFill>
                <a:latin typeface="Votorantim Sans Medium" panose="00000600000000000000" pitchFamily="2" charset="0"/>
              </a:rPr>
              <a:t> de las </a:t>
            </a:r>
            <a:r>
              <a:rPr lang="en-US" altLang="en-US" sz="2100" dirty="0" err="1">
                <a:solidFill>
                  <a:srgbClr val="FFFFFF"/>
                </a:solidFill>
                <a:latin typeface="Votorantim Sans Medium" panose="00000600000000000000" pitchFamily="2" charset="0"/>
              </a:rPr>
              <a:t>mayores</a:t>
            </a:r>
            <a:r>
              <a:rPr lang="en-US" altLang="en-US" sz="2100" dirty="0">
                <a:solidFill>
                  <a:srgbClr val="FFFFFF"/>
                </a:solidFill>
                <a:latin typeface="Votorantim Sans Medium" panose="00000600000000000000" pitchFamily="2" charset="0"/>
              </a:rPr>
              <a:t> </a:t>
            </a:r>
            <a:r>
              <a:rPr lang="pt-BR" sz="2100" dirty="0">
                <a:solidFill>
                  <a:srgbClr val="FFFFFF"/>
                </a:solidFill>
                <a:latin typeface="Votorantim Sans Medium" panose="00000600000000000000" pitchFamily="2" charset="0"/>
              </a:rPr>
              <a:t>holdings </a:t>
            </a:r>
            <a:br>
              <a:rPr lang="pt-BR" sz="2100" dirty="0">
                <a:solidFill>
                  <a:prstClr val="white"/>
                </a:solidFill>
                <a:latin typeface="Votorantim Sans Medium" panose="00000600000000000000" pitchFamily="2" charset="0"/>
              </a:rPr>
            </a:br>
            <a:r>
              <a:rPr lang="en-US" altLang="en-US" sz="2100" dirty="0">
                <a:solidFill>
                  <a:srgbClr val="FFFFFF"/>
                </a:solidFill>
                <a:latin typeface="Votorantim Sans Medium" panose="00000600000000000000" pitchFamily="2" charset="0"/>
              </a:rPr>
              <a:t>de </a:t>
            </a:r>
            <a:r>
              <a:rPr lang="en-US" altLang="en-US" sz="2100" dirty="0" err="1">
                <a:solidFill>
                  <a:srgbClr val="FFFFFF"/>
                </a:solidFill>
                <a:latin typeface="Votorantim Sans Medium" panose="00000600000000000000" pitchFamily="2" charset="0"/>
              </a:rPr>
              <a:t>inversiones</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en</a:t>
            </a:r>
            <a:r>
              <a:rPr lang="en-US" altLang="en-US" sz="2100" dirty="0">
                <a:solidFill>
                  <a:srgbClr val="FFFFFF"/>
                </a:solidFill>
                <a:latin typeface="Votorantim Sans Medium" panose="00000600000000000000" pitchFamily="2" charset="0"/>
              </a:rPr>
              <a:t> Brasil.</a:t>
            </a:r>
          </a:p>
        </p:txBody>
      </p:sp>
      <p:grpSp>
        <p:nvGrpSpPr>
          <p:cNvPr id="65" name="Agrupar 64">
            <a:extLst>
              <a:ext uri="{FF2B5EF4-FFF2-40B4-BE49-F238E27FC236}">
                <a16:creationId xmlns:a16="http://schemas.microsoft.com/office/drawing/2014/main" id="{61A4C293-A2A5-F689-819B-3BD2EF91BF99}"/>
              </a:ext>
            </a:extLst>
          </p:cNvPr>
          <p:cNvGrpSpPr>
            <a:grpSpLocks/>
          </p:cNvGrpSpPr>
          <p:nvPr/>
        </p:nvGrpSpPr>
        <p:grpSpPr bwMode="auto">
          <a:xfrm>
            <a:off x="12948672" y="4621213"/>
            <a:ext cx="865187" cy="679450"/>
            <a:chOff x="1768658" y="4901183"/>
            <a:chExt cx="866072" cy="679601"/>
          </a:xfrm>
        </p:grpSpPr>
        <p:grpSp>
          <p:nvGrpSpPr>
            <p:cNvPr id="64" name="Agrupar 63">
              <a:extLst>
                <a:ext uri="{FF2B5EF4-FFF2-40B4-BE49-F238E27FC236}">
                  <a16:creationId xmlns:a16="http://schemas.microsoft.com/office/drawing/2014/main" id="{D2942485-DE84-7683-B95A-6990E0F255D4}"/>
                </a:ext>
              </a:extLst>
            </p:cNvPr>
            <p:cNvGrpSpPr/>
            <p:nvPr/>
          </p:nvGrpSpPr>
          <p:grpSpPr>
            <a:xfrm>
              <a:off x="1768658" y="4901183"/>
              <a:ext cx="866072" cy="679601"/>
              <a:chOff x="-8537334" y="-2237600"/>
              <a:chExt cx="7109540" cy="5578808"/>
            </a:xfrm>
            <a:solidFill>
              <a:schemeClr val="bg1"/>
            </a:solidFill>
          </p:grpSpPr>
          <p:sp>
            <p:nvSpPr>
              <p:cNvPr id="93" name="Forma Livre: Forma 92">
                <a:extLst>
                  <a:ext uri="{FF2B5EF4-FFF2-40B4-BE49-F238E27FC236}">
                    <a16:creationId xmlns:a16="http://schemas.microsoft.com/office/drawing/2014/main" id="{16516C6F-B4CA-0A1A-6591-B861035469BE}"/>
                  </a:ext>
                </a:extLst>
              </p:cNvPr>
              <p:cNvSpPr/>
              <p:nvPr/>
            </p:nvSpPr>
            <p:spPr>
              <a:xfrm>
                <a:off x="-4501898" y="-2237600"/>
                <a:ext cx="2682849" cy="2614323"/>
              </a:xfrm>
              <a:custGeom>
                <a:avLst/>
                <a:gdLst>
                  <a:gd name="connsiteX0" fmla="*/ 122044 w 2682849"/>
                  <a:gd name="connsiteY0" fmla="*/ 2614323 h 2614323"/>
                  <a:gd name="connsiteX1" fmla="*/ 2560716 w 2682849"/>
                  <a:gd name="connsiteY1" fmla="*/ 2614323 h 2614323"/>
                  <a:gd name="connsiteX2" fmla="*/ 2651171 w 2682849"/>
                  <a:gd name="connsiteY2" fmla="*/ 2574254 h 2614323"/>
                  <a:gd name="connsiteX3" fmla="*/ 2682265 w 2682849"/>
                  <a:gd name="connsiteY3" fmla="*/ 2480476 h 2614323"/>
                  <a:gd name="connsiteX4" fmla="*/ 130476 w 2682849"/>
                  <a:gd name="connsiteY4" fmla="*/ 163 h 2614323"/>
                  <a:gd name="connsiteX5" fmla="*/ 38781 w 2682849"/>
                  <a:gd name="connsiteY5" fmla="*/ 32745 h 2614323"/>
                  <a:gd name="connsiteX6" fmla="*/ 0 w 2682849"/>
                  <a:gd name="connsiteY6" fmla="*/ 122110 h 2614323"/>
                  <a:gd name="connsiteX7" fmla="*/ 0 w 2682849"/>
                  <a:gd name="connsiteY7" fmla="*/ 2492099 h 2614323"/>
                  <a:gd name="connsiteX8" fmla="*/ 122095 w 2682849"/>
                  <a:gd name="connsiteY8" fmla="*/ 2614293 h 2614323"/>
                  <a:gd name="connsiteX9" fmla="*/ 244188 w 2682849"/>
                  <a:gd name="connsiteY9" fmla="*/ 256268 h 2614323"/>
                  <a:gd name="connsiteX10" fmla="*/ 2422603 w 2682849"/>
                  <a:gd name="connsiteY10" fmla="*/ 2369936 h 2614323"/>
                  <a:gd name="connsiteX11" fmla="*/ 244188 w 2682849"/>
                  <a:gd name="connsiteY11" fmla="*/ 2369936 h 261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82849" h="2614323">
                    <a:moveTo>
                      <a:pt x="122044" y="2614323"/>
                    </a:moveTo>
                    <a:lnTo>
                      <a:pt x="2560716" y="2614323"/>
                    </a:lnTo>
                    <a:cubicBezTo>
                      <a:pt x="2595232" y="2614323"/>
                      <a:pt x="2628012" y="2599793"/>
                      <a:pt x="2651171" y="2574254"/>
                    </a:cubicBezTo>
                    <a:cubicBezTo>
                      <a:pt x="2674330" y="2548764"/>
                      <a:pt x="2685636" y="2514892"/>
                      <a:pt x="2682265" y="2480476"/>
                    </a:cubicBezTo>
                    <a:cubicBezTo>
                      <a:pt x="2553076" y="1136280"/>
                      <a:pt x="1479915" y="93221"/>
                      <a:pt x="130476" y="163"/>
                    </a:cubicBezTo>
                    <a:cubicBezTo>
                      <a:pt x="97101" y="-1523"/>
                      <a:pt x="63577" y="9883"/>
                      <a:pt x="38781" y="32745"/>
                    </a:cubicBezTo>
                    <a:cubicBezTo>
                      <a:pt x="14134" y="55904"/>
                      <a:pt x="0" y="88238"/>
                      <a:pt x="0" y="122110"/>
                    </a:cubicBezTo>
                    <a:lnTo>
                      <a:pt x="0" y="2492099"/>
                    </a:lnTo>
                    <a:cubicBezTo>
                      <a:pt x="-50" y="2559593"/>
                      <a:pt x="54551" y="2614293"/>
                      <a:pt x="122095" y="2614293"/>
                    </a:cubicBezTo>
                    <a:close/>
                    <a:moveTo>
                      <a:pt x="244188" y="256268"/>
                    </a:moveTo>
                    <a:cubicBezTo>
                      <a:pt x="1367483" y="391449"/>
                      <a:pt x="2255531" y="1253204"/>
                      <a:pt x="2422603" y="2369936"/>
                    </a:cubicBezTo>
                    <a:lnTo>
                      <a:pt x="244188" y="2369936"/>
                    </a:lnTo>
                    <a:close/>
                  </a:path>
                </a:pathLst>
              </a:custGeom>
              <a:grpFill/>
              <a:ln w="12695"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94" name="Forma Livre: Forma 93">
                <a:extLst>
                  <a:ext uri="{FF2B5EF4-FFF2-40B4-BE49-F238E27FC236}">
                    <a16:creationId xmlns:a16="http://schemas.microsoft.com/office/drawing/2014/main" id="{AF5C9702-84BB-BF1E-8572-4D28B60F369B}"/>
                  </a:ext>
                </a:extLst>
              </p:cNvPr>
              <p:cNvSpPr/>
              <p:nvPr/>
            </p:nvSpPr>
            <p:spPr>
              <a:xfrm>
                <a:off x="-6721713" y="586454"/>
                <a:ext cx="4905666" cy="2681171"/>
              </a:xfrm>
              <a:custGeom>
                <a:avLst/>
                <a:gdLst>
                  <a:gd name="connsiteX0" fmla="*/ 4905327 w 4905666"/>
                  <a:gd name="connsiteY0" fmla="*/ 131269 h 2681171"/>
                  <a:gd name="connsiteX1" fmla="*/ 4873142 w 4905666"/>
                  <a:gd name="connsiteY1" fmla="*/ 39127 h 2681171"/>
                  <a:gd name="connsiteX2" fmla="*/ 4783530 w 4905666"/>
                  <a:gd name="connsiteY2" fmla="*/ 0 h 2681171"/>
                  <a:gd name="connsiteX3" fmla="*/ 2227171 w 4905666"/>
                  <a:gd name="connsiteY3" fmla="*/ 50 h 2681171"/>
                  <a:gd name="connsiteX4" fmla="*/ 2157197 w 4905666"/>
                  <a:gd name="connsiteY4" fmla="*/ 22217 h 2681171"/>
                  <a:gd name="connsiteX5" fmla="*/ 52162 w 4905666"/>
                  <a:gd name="connsiteY5" fmla="*/ 1496034 h 2681171"/>
                  <a:gd name="connsiteX6" fmla="*/ 1083 w 4905666"/>
                  <a:gd name="connsiteY6" fmla="*/ 1579546 h 2681171"/>
                  <a:gd name="connsiteX7" fmla="*/ 27813 w 4905666"/>
                  <a:gd name="connsiteY7" fmla="*/ 1673622 h 2681171"/>
                  <a:gd name="connsiteX8" fmla="*/ 2158747 w 4905666"/>
                  <a:gd name="connsiteY8" fmla="*/ 2681172 h 2681171"/>
                  <a:gd name="connsiteX9" fmla="*/ 4905411 w 4905666"/>
                  <a:gd name="connsiteY9" fmla="*/ 131161 h 2681171"/>
                  <a:gd name="connsiteX10" fmla="*/ 2158790 w 4905666"/>
                  <a:gd name="connsiteY10" fmla="*/ 2437019 h 2681171"/>
                  <a:gd name="connsiteX11" fmla="*/ 303221 w 4905666"/>
                  <a:gd name="connsiteY11" fmla="*/ 1618555 h 2681171"/>
                  <a:gd name="connsiteX12" fmla="*/ 2265686 w 4905666"/>
                  <a:gd name="connsiteY12" fmla="*/ 244525 h 2681171"/>
                  <a:gd name="connsiteX13" fmla="*/ 4648371 w 4905666"/>
                  <a:gd name="connsiteY13" fmla="*/ 244525 h 2681171"/>
                  <a:gd name="connsiteX14" fmla="*/ 2158664 w 4905666"/>
                  <a:gd name="connsiteY14" fmla="*/ 2437032 h 268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05666" h="2681171">
                    <a:moveTo>
                      <a:pt x="4905327" y="131269"/>
                    </a:moveTo>
                    <a:cubicBezTo>
                      <a:pt x="4907857" y="97397"/>
                      <a:pt x="4896153" y="63972"/>
                      <a:pt x="4873142" y="39127"/>
                    </a:cubicBezTo>
                    <a:cubicBezTo>
                      <a:pt x="4849982" y="14133"/>
                      <a:pt x="4817549" y="0"/>
                      <a:pt x="4783530" y="0"/>
                    </a:cubicBezTo>
                    <a:lnTo>
                      <a:pt x="2227171" y="50"/>
                    </a:lnTo>
                    <a:cubicBezTo>
                      <a:pt x="2202077" y="50"/>
                      <a:pt x="2177679" y="7637"/>
                      <a:pt x="2157197" y="22217"/>
                    </a:cubicBezTo>
                    <a:lnTo>
                      <a:pt x="52162" y="1496034"/>
                    </a:lnTo>
                    <a:cubicBezTo>
                      <a:pt x="24242" y="1515325"/>
                      <a:pt x="5745" y="1545676"/>
                      <a:pt x="1083" y="1579546"/>
                    </a:cubicBezTo>
                    <a:cubicBezTo>
                      <a:pt x="-3430" y="1613168"/>
                      <a:pt x="6290" y="1647337"/>
                      <a:pt x="27813" y="1673622"/>
                    </a:cubicBezTo>
                    <a:cubicBezTo>
                      <a:pt x="554180" y="2313994"/>
                      <a:pt x="1330876" y="2681172"/>
                      <a:pt x="2158747" y="2681172"/>
                    </a:cubicBezTo>
                    <a:cubicBezTo>
                      <a:pt x="3592192" y="2681222"/>
                      <a:pt x="4798769" y="1561191"/>
                      <a:pt x="4905411" y="131161"/>
                    </a:cubicBezTo>
                    <a:close/>
                    <a:moveTo>
                      <a:pt x="2158790" y="2437019"/>
                    </a:moveTo>
                    <a:cubicBezTo>
                      <a:pt x="1448492" y="2437019"/>
                      <a:pt x="779428" y="2140212"/>
                      <a:pt x="303221" y="1618555"/>
                    </a:cubicBezTo>
                    <a:lnTo>
                      <a:pt x="2265686" y="244525"/>
                    </a:lnTo>
                    <a:lnTo>
                      <a:pt x="4648371" y="244525"/>
                    </a:lnTo>
                    <a:cubicBezTo>
                      <a:pt x="4489881" y="1484313"/>
                      <a:pt x="3420834" y="2437032"/>
                      <a:pt x="2158664" y="2437032"/>
                    </a:cubicBezTo>
                    <a:close/>
                  </a:path>
                </a:pathLst>
              </a:custGeom>
              <a:grpFill/>
              <a:ln w="12695"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95" name="Forma Livre: Forma 94">
                <a:extLst>
                  <a:ext uri="{FF2B5EF4-FFF2-40B4-BE49-F238E27FC236}">
                    <a16:creationId xmlns:a16="http://schemas.microsoft.com/office/drawing/2014/main" id="{FA44BC4F-8B86-CB3A-E2C8-E7E37DA28EC3}"/>
                  </a:ext>
                </a:extLst>
              </p:cNvPr>
              <p:cNvSpPr/>
              <p:nvPr/>
            </p:nvSpPr>
            <p:spPr>
              <a:xfrm>
                <a:off x="-7320729" y="-2232952"/>
                <a:ext cx="2609032" cy="4162572"/>
              </a:xfrm>
              <a:custGeom>
                <a:avLst/>
                <a:gdLst>
                  <a:gd name="connsiteX0" fmla="*/ 2609016 w 2609032"/>
                  <a:gd name="connsiteY0" fmla="*/ 2624910 h 4162572"/>
                  <a:gd name="connsiteX1" fmla="*/ 2609016 w 2609032"/>
                  <a:gd name="connsiteY1" fmla="*/ 121999 h 4162572"/>
                  <a:gd name="connsiteX2" fmla="*/ 2568698 w 2609032"/>
                  <a:gd name="connsiteY2" fmla="*/ 31395 h 4162572"/>
                  <a:gd name="connsiteX3" fmla="*/ 2474473 w 2609032"/>
                  <a:gd name="connsiteY3" fmla="*/ 450 h 4162572"/>
                  <a:gd name="connsiteX4" fmla="*/ 0 w 2609032"/>
                  <a:gd name="connsiteY4" fmla="*/ 2743051 h 4162572"/>
                  <a:gd name="connsiteX5" fmla="*/ 359396 w 2609032"/>
                  <a:gd name="connsiteY5" fmla="*/ 4100831 h 4162572"/>
                  <a:gd name="connsiteX6" fmla="*/ 438891 w 2609032"/>
                  <a:gd name="connsiteY6" fmla="*/ 4159498 h 4162572"/>
                  <a:gd name="connsiteX7" fmla="*/ 465770 w 2609032"/>
                  <a:gd name="connsiteY7" fmla="*/ 4162573 h 4162572"/>
                  <a:gd name="connsiteX8" fmla="*/ 535843 w 2609032"/>
                  <a:gd name="connsiteY8" fmla="*/ 4140405 h 4162572"/>
                  <a:gd name="connsiteX9" fmla="*/ 2556961 w 2609032"/>
                  <a:gd name="connsiteY9" fmla="*/ 2724988 h 4162572"/>
                  <a:gd name="connsiteX10" fmla="*/ 2609032 w 2609032"/>
                  <a:gd name="connsiteY10" fmla="*/ 2624962 h 4162572"/>
                  <a:gd name="connsiteX11" fmla="*/ 2364628 w 2609032"/>
                  <a:gd name="connsiteY11" fmla="*/ 2561284 h 4162572"/>
                  <a:gd name="connsiteX12" fmla="*/ 508678 w 2609032"/>
                  <a:gd name="connsiteY12" fmla="*/ 3861173 h 4162572"/>
                  <a:gd name="connsiteX13" fmla="*/ 244308 w 2609032"/>
                  <a:gd name="connsiteY13" fmla="*/ 2743083 h 4162572"/>
                  <a:gd name="connsiteX14" fmla="*/ 2364704 w 2609032"/>
                  <a:gd name="connsiteY14" fmla="*/ 260866 h 416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09032" h="4162572">
                    <a:moveTo>
                      <a:pt x="2609016" y="2624910"/>
                    </a:moveTo>
                    <a:lnTo>
                      <a:pt x="2609016" y="121999"/>
                    </a:lnTo>
                    <a:cubicBezTo>
                      <a:pt x="2609016" y="87384"/>
                      <a:pt x="2594387" y="54455"/>
                      <a:pt x="2568698" y="31395"/>
                    </a:cubicBezTo>
                    <a:cubicBezTo>
                      <a:pt x="2543010" y="8137"/>
                      <a:pt x="2508940" y="-2377"/>
                      <a:pt x="2474473" y="450"/>
                    </a:cubicBezTo>
                    <a:cubicBezTo>
                      <a:pt x="1063880" y="144810"/>
                      <a:pt x="0" y="1323825"/>
                      <a:pt x="0" y="2743051"/>
                    </a:cubicBezTo>
                    <a:cubicBezTo>
                      <a:pt x="0" y="3216897"/>
                      <a:pt x="124327" y="3686235"/>
                      <a:pt x="359396" y="4100831"/>
                    </a:cubicBezTo>
                    <a:cubicBezTo>
                      <a:pt x="376456" y="4130587"/>
                      <a:pt x="405219" y="4152060"/>
                      <a:pt x="438891" y="4159498"/>
                    </a:cubicBezTo>
                    <a:cubicBezTo>
                      <a:pt x="447718" y="4161581"/>
                      <a:pt x="456844" y="4162573"/>
                      <a:pt x="465770" y="4162573"/>
                    </a:cubicBezTo>
                    <a:cubicBezTo>
                      <a:pt x="490615" y="4162573"/>
                      <a:pt x="515163" y="4154985"/>
                      <a:pt x="535843" y="4140405"/>
                    </a:cubicBezTo>
                    <a:lnTo>
                      <a:pt x="2556961" y="2724988"/>
                    </a:lnTo>
                    <a:cubicBezTo>
                      <a:pt x="2589542" y="2702274"/>
                      <a:pt x="2609032" y="2664833"/>
                      <a:pt x="2609032" y="2624962"/>
                    </a:cubicBezTo>
                    <a:close/>
                    <a:moveTo>
                      <a:pt x="2364628" y="2561284"/>
                    </a:moveTo>
                    <a:lnTo>
                      <a:pt x="508678" y="3861173"/>
                    </a:lnTo>
                    <a:cubicBezTo>
                      <a:pt x="335360" y="3513787"/>
                      <a:pt x="244308" y="3129800"/>
                      <a:pt x="244308" y="2743083"/>
                    </a:cubicBezTo>
                    <a:cubicBezTo>
                      <a:pt x="244308" y="1495259"/>
                      <a:pt x="1146727" y="451044"/>
                      <a:pt x="2364704" y="260866"/>
                    </a:cubicBezTo>
                    <a:close/>
                  </a:path>
                </a:pathLst>
              </a:custGeom>
              <a:grpFill/>
              <a:ln w="12695"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20" name="Forma Livre: Forma 119">
                <a:extLst>
                  <a:ext uri="{FF2B5EF4-FFF2-40B4-BE49-F238E27FC236}">
                    <a16:creationId xmlns:a16="http://schemas.microsoft.com/office/drawing/2014/main" id="{375404F7-ACB5-5269-9BC8-418C7110CE96}"/>
                  </a:ext>
                </a:extLst>
              </p:cNvPr>
              <p:cNvSpPr/>
              <p:nvPr/>
            </p:nvSpPr>
            <p:spPr>
              <a:xfrm>
                <a:off x="-2592559" y="-2207045"/>
                <a:ext cx="1164765" cy="183292"/>
              </a:xfrm>
              <a:custGeom>
                <a:avLst/>
                <a:gdLst>
                  <a:gd name="connsiteX0" fmla="*/ 1073120 w 1164765"/>
                  <a:gd name="connsiteY0" fmla="*/ 0 h 183292"/>
                  <a:gd name="connsiteX1" fmla="*/ 91646 w 1164765"/>
                  <a:gd name="connsiteY1" fmla="*/ 0 h 183292"/>
                  <a:gd name="connsiteX2" fmla="*/ 0 w 1164765"/>
                  <a:gd name="connsiteY2" fmla="*/ 91646 h 183292"/>
                  <a:gd name="connsiteX3" fmla="*/ 91646 w 1164765"/>
                  <a:gd name="connsiteY3" fmla="*/ 183292 h 183292"/>
                  <a:gd name="connsiteX4" fmla="*/ 1073120 w 1164765"/>
                  <a:gd name="connsiteY4" fmla="*/ 183292 h 183292"/>
                  <a:gd name="connsiteX5" fmla="*/ 1164766 w 1164765"/>
                  <a:gd name="connsiteY5" fmla="*/ 91646 h 183292"/>
                  <a:gd name="connsiteX6" fmla="*/ 1073120 w 1164765"/>
                  <a:gd name="connsiteY6" fmla="*/ 0 h 1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765" h="183292">
                    <a:moveTo>
                      <a:pt x="1073120" y="0"/>
                    </a:moveTo>
                    <a:lnTo>
                      <a:pt x="91646" y="0"/>
                    </a:lnTo>
                    <a:cubicBezTo>
                      <a:pt x="41062" y="0"/>
                      <a:pt x="0" y="41062"/>
                      <a:pt x="0" y="91646"/>
                    </a:cubicBezTo>
                    <a:cubicBezTo>
                      <a:pt x="0" y="142230"/>
                      <a:pt x="41062" y="183292"/>
                      <a:pt x="91646" y="183292"/>
                    </a:cubicBezTo>
                    <a:lnTo>
                      <a:pt x="1073120" y="183292"/>
                    </a:lnTo>
                    <a:cubicBezTo>
                      <a:pt x="1123704" y="183292"/>
                      <a:pt x="1164766" y="142230"/>
                      <a:pt x="1164766" y="91646"/>
                    </a:cubicBezTo>
                    <a:cubicBezTo>
                      <a:pt x="1164766" y="41062"/>
                      <a:pt x="1123704" y="0"/>
                      <a:pt x="1073120" y="0"/>
                    </a:cubicBezTo>
                    <a:close/>
                  </a:path>
                </a:pathLst>
              </a:custGeom>
              <a:grpFill/>
              <a:ln w="12695"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21" name="Forma Livre: Forma 120">
                <a:extLst>
                  <a:ext uri="{FF2B5EF4-FFF2-40B4-BE49-F238E27FC236}">
                    <a16:creationId xmlns:a16="http://schemas.microsoft.com/office/drawing/2014/main" id="{4A5A6028-AFCD-BCB4-1618-FD2EF45C3E57}"/>
                  </a:ext>
                </a:extLst>
              </p:cNvPr>
              <p:cNvSpPr/>
              <p:nvPr/>
            </p:nvSpPr>
            <p:spPr>
              <a:xfrm>
                <a:off x="-2592635" y="-1826798"/>
                <a:ext cx="952954" cy="183292"/>
              </a:xfrm>
              <a:custGeom>
                <a:avLst/>
                <a:gdLst>
                  <a:gd name="connsiteX0" fmla="*/ 861309 w 952954"/>
                  <a:gd name="connsiteY0" fmla="*/ 183292 h 183292"/>
                  <a:gd name="connsiteX1" fmla="*/ 952954 w 952954"/>
                  <a:gd name="connsiteY1" fmla="*/ 91646 h 183292"/>
                  <a:gd name="connsiteX2" fmla="*/ 861309 w 952954"/>
                  <a:gd name="connsiteY2" fmla="*/ 0 h 183292"/>
                  <a:gd name="connsiteX3" fmla="*/ 91646 w 952954"/>
                  <a:gd name="connsiteY3" fmla="*/ 0 h 183292"/>
                  <a:gd name="connsiteX4" fmla="*/ 0 w 952954"/>
                  <a:gd name="connsiteY4" fmla="*/ 91646 h 183292"/>
                  <a:gd name="connsiteX5" fmla="*/ 91646 w 952954"/>
                  <a:gd name="connsiteY5" fmla="*/ 183292 h 1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954" h="183292">
                    <a:moveTo>
                      <a:pt x="861309" y="183292"/>
                    </a:moveTo>
                    <a:cubicBezTo>
                      <a:pt x="911892" y="183292"/>
                      <a:pt x="952954" y="142230"/>
                      <a:pt x="952954" y="91646"/>
                    </a:cubicBezTo>
                    <a:cubicBezTo>
                      <a:pt x="952954" y="41062"/>
                      <a:pt x="911892" y="0"/>
                      <a:pt x="861309" y="0"/>
                    </a:cubicBezTo>
                    <a:lnTo>
                      <a:pt x="91646" y="0"/>
                    </a:lnTo>
                    <a:cubicBezTo>
                      <a:pt x="41062" y="0"/>
                      <a:pt x="0" y="41062"/>
                      <a:pt x="0" y="91646"/>
                    </a:cubicBezTo>
                    <a:cubicBezTo>
                      <a:pt x="0" y="142230"/>
                      <a:pt x="41062" y="183292"/>
                      <a:pt x="91646" y="183292"/>
                    </a:cubicBezTo>
                    <a:close/>
                  </a:path>
                </a:pathLst>
              </a:custGeom>
              <a:grpFill/>
              <a:ln w="12695"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22" name="Forma Livre: Forma 121">
                <a:extLst>
                  <a:ext uri="{FF2B5EF4-FFF2-40B4-BE49-F238E27FC236}">
                    <a16:creationId xmlns:a16="http://schemas.microsoft.com/office/drawing/2014/main" id="{359DD9BD-179D-257B-8EBA-98EA2BC83664}"/>
                  </a:ext>
                </a:extLst>
              </p:cNvPr>
              <p:cNvSpPr/>
              <p:nvPr/>
            </p:nvSpPr>
            <p:spPr>
              <a:xfrm>
                <a:off x="-2698033" y="2777307"/>
                <a:ext cx="1164270" cy="183292"/>
              </a:xfrm>
              <a:custGeom>
                <a:avLst/>
                <a:gdLst>
                  <a:gd name="connsiteX0" fmla="*/ 1072713 w 1164270"/>
                  <a:gd name="connsiteY0" fmla="*/ 0 h 183292"/>
                  <a:gd name="connsiteX1" fmla="*/ 91646 w 1164270"/>
                  <a:gd name="connsiteY1" fmla="*/ 0 h 183292"/>
                  <a:gd name="connsiteX2" fmla="*/ 0 w 1164270"/>
                  <a:gd name="connsiteY2" fmla="*/ 91646 h 183292"/>
                  <a:gd name="connsiteX3" fmla="*/ 91646 w 1164270"/>
                  <a:gd name="connsiteY3" fmla="*/ 183292 h 183292"/>
                  <a:gd name="connsiteX4" fmla="*/ 1072624 w 1164270"/>
                  <a:gd name="connsiteY4" fmla="*/ 183292 h 183292"/>
                  <a:gd name="connsiteX5" fmla="*/ 1164270 w 1164270"/>
                  <a:gd name="connsiteY5" fmla="*/ 91646 h 183292"/>
                  <a:gd name="connsiteX6" fmla="*/ 1072725 w 1164270"/>
                  <a:gd name="connsiteY6" fmla="*/ 0 h 1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270" h="183292">
                    <a:moveTo>
                      <a:pt x="1072713" y="0"/>
                    </a:moveTo>
                    <a:lnTo>
                      <a:pt x="91646" y="0"/>
                    </a:lnTo>
                    <a:cubicBezTo>
                      <a:pt x="41062" y="0"/>
                      <a:pt x="0" y="41062"/>
                      <a:pt x="0" y="91646"/>
                    </a:cubicBezTo>
                    <a:cubicBezTo>
                      <a:pt x="0" y="142230"/>
                      <a:pt x="41062" y="183292"/>
                      <a:pt x="91646" y="183292"/>
                    </a:cubicBezTo>
                    <a:lnTo>
                      <a:pt x="1072624" y="183292"/>
                    </a:lnTo>
                    <a:cubicBezTo>
                      <a:pt x="1123208" y="183292"/>
                      <a:pt x="1164270" y="142230"/>
                      <a:pt x="1164270" y="91646"/>
                    </a:cubicBezTo>
                    <a:cubicBezTo>
                      <a:pt x="1164270" y="41062"/>
                      <a:pt x="1123307" y="0"/>
                      <a:pt x="1072725" y="0"/>
                    </a:cubicBezTo>
                    <a:close/>
                  </a:path>
                </a:pathLst>
              </a:custGeom>
              <a:grpFill/>
              <a:ln w="12695"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23" name="Forma Livre: Forma 122">
                <a:extLst>
                  <a:ext uri="{FF2B5EF4-FFF2-40B4-BE49-F238E27FC236}">
                    <a16:creationId xmlns:a16="http://schemas.microsoft.com/office/drawing/2014/main" id="{5F58413B-6572-CCCB-4951-355B556A1D20}"/>
                  </a:ext>
                </a:extLst>
              </p:cNvPr>
              <p:cNvSpPr/>
              <p:nvPr/>
            </p:nvSpPr>
            <p:spPr>
              <a:xfrm>
                <a:off x="-2698007" y="3157917"/>
                <a:ext cx="952699" cy="183291"/>
              </a:xfrm>
              <a:custGeom>
                <a:avLst/>
                <a:gdLst>
                  <a:gd name="connsiteX0" fmla="*/ 861055 w 952699"/>
                  <a:gd name="connsiteY0" fmla="*/ 0 h 183291"/>
                  <a:gd name="connsiteX1" fmla="*/ 91645 w 952699"/>
                  <a:gd name="connsiteY1" fmla="*/ 0 h 183291"/>
                  <a:gd name="connsiteX2" fmla="*/ 0 w 952699"/>
                  <a:gd name="connsiteY2" fmla="*/ 91646 h 183291"/>
                  <a:gd name="connsiteX3" fmla="*/ 91645 w 952699"/>
                  <a:gd name="connsiteY3" fmla="*/ 183292 h 183291"/>
                  <a:gd name="connsiteX4" fmla="*/ 861055 w 952699"/>
                  <a:gd name="connsiteY4" fmla="*/ 183292 h 183291"/>
                  <a:gd name="connsiteX5" fmla="*/ 952700 w 952699"/>
                  <a:gd name="connsiteY5" fmla="*/ 91646 h 183291"/>
                  <a:gd name="connsiteX6" fmla="*/ 861055 w 952699"/>
                  <a:gd name="connsiteY6" fmla="*/ 0 h 18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699" h="183291">
                    <a:moveTo>
                      <a:pt x="861055" y="0"/>
                    </a:moveTo>
                    <a:lnTo>
                      <a:pt x="91645" y="0"/>
                    </a:lnTo>
                    <a:cubicBezTo>
                      <a:pt x="41062" y="0"/>
                      <a:pt x="0" y="41062"/>
                      <a:pt x="0" y="91646"/>
                    </a:cubicBezTo>
                    <a:cubicBezTo>
                      <a:pt x="0" y="142230"/>
                      <a:pt x="41062" y="183292"/>
                      <a:pt x="91645" y="183292"/>
                    </a:cubicBezTo>
                    <a:lnTo>
                      <a:pt x="861055" y="183292"/>
                    </a:lnTo>
                    <a:cubicBezTo>
                      <a:pt x="911638" y="183292"/>
                      <a:pt x="952700" y="142230"/>
                      <a:pt x="952700" y="91646"/>
                    </a:cubicBezTo>
                    <a:cubicBezTo>
                      <a:pt x="952650" y="41062"/>
                      <a:pt x="911539" y="0"/>
                      <a:pt x="861055" y="0"/>
                    </a:cubicBezTo>
                    <a:close/>
                  </a:path>
                </a:pathLst>
              </a:custGeom>
              <a:grpFill/>
              <a:ln w="12695"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29" name="Forma Livre: Forma 128">
                <a:extLst>
                  <a:ext uri="{FF2B5EF4-FFF2-40B4-BE49-F238E27FC236}">
                    <a16:creationId xmlns:a16="http://schemas.microsoft.com/office/drawing/2014/main" id="{DC573375-EB19-E856-1C0B-4FCF3D83DEDC}"/>
                  </a:ext>
                </a:extLst>
              </p:cNvPr>
              <p:cNvSpPr/>
              <p:nvPr/>
            </p:nvSpPr>
            <p:spPr>
              <a:xfrm>
                <a:off x="-8537334" y="-1021936"/>
                <a:ext cx="1164765" cy="183292"/>
              </a:xfrm>
              <a:custGeom>
                <a:avLst/>
                <a:gdLst>
                  <a:gd name="connsiteX0" fmla="*/ 1073117 w 1164765"/>
                  <a:gd name="connsiteY0" fmla="*/ 0 h 183292"/>
                  <a:gd name="connsiteX1" fmla="*/ 91745 w 1164765"/>
                  <a:gd name="connsiteY1" fmla="*/ 0 h 183292"/>
                  <a:gd name="connsiteX2" fmla="*/ 0 w 1164765"/>
                  <a:gd name="connsiteY2" fmla="*/ 91646 h 183292"/>
                  <a:gd name="connsiteX3" fmla="*/ 91646 w 1164765"/>
                  <a:gd name="connsiteY3" fmla="*/ 183292 h 183292"/>
                  <a:gd name="connsiteX4" fmla="*/ 1073120 w 1164765"/>
                  <a:gd name="connsiteY4" fmla="*/ 183292 h 183292"/>
                  <a:gd name="connsiteX5" fmla="*/ 1164766 w 1164765"/>
                  <a:gd name="connsiteY5" fmla="*/ 91646 h 183292"/>
                  <a:gd name="connsiteX6" fmla="*/ 1073120 w 1164765"/>
                  <a:gd name="connsiteY6" fmla="*/ 0 h 1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765" h="183292">
                    <a:moveTo>
                      <a:pt x="1073117" y="0"/>
                    </a:moveTo>
                    <a:lnTo>
                      <a:pt x="91745" y="0"/>
                    </a:lnTo>
                    <a:cubicBezTo>
                      <a:pt x="41161" y="0"/>
                      <a:pt x="0" y="41062"/>
                      <a:pt x="0" y="91646"/>
                    </a:cubicBezTo>
                    <a:cubicBezTo>
                      <a:pt x="0" y="142230"/>
                      <a:pt x="41062" y="183292"/>
                      <a:pt x="91646" y="183292"/>
                    </a:cubicBezTo>
                    <a:lnTo>
                      <a:pt x="1073120" y="183292"/>
                    </a:lnTo>
                    <a:cubicBezTo>
                      <a:pt x="1123703" y="183292"/>
                      <a:pt x="1164766" y="142230"/>
                      <a:pt x="1164766" y="91646"/>
                    </a:cubicBezTo>
                    <a:cubicBezTo>
                      <a:pt x="1164766" y="41062"/>
                      <a:pt x="1123703" y="0"/>
                      <a:pt x="1073120" y="0"/>
                    </a:cubicBezTo>
                    <a:close/>
                  </a:path>
                </a:pathLst>
              </a:custGeom>
              <a:grpFill/>
              <a:ln w="12695"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30" name="Forma Livre: Forma 129">
                <a:extLst>
                  <a:ext uri="{FF2B5EF4-FFF2-40B4-BE49-F238E27FC236}">
                    <a16:creationId xmlns:a16="http://schemas.microsoft.com/office/drawing/2014/main" id="{C1ABF269-7384-5D02-AF23-71AC1C598B94}"/>
                  </a:ext>
                </a:extLst>
              </p:cNvPr>
              <p:cNvSpPr/>
              <p:nvPr/>
            </p:nvSpPr>
            <p:spPr>
              <a:xfrm>
                <a:off x="-8325907" y="-641326"/>
                <a:ext cx="952954" cy="183291"/>
              </a:xfrm>
              <a:custGeom>
                <a:avLst/>
                <a:gdLst>
                  <a:gd name="connsiteX0" fmla="*/ 861309 w 952954"/>
                  <a:gd name="connsiteY0" fmla="*/ 0 h 183291"/>
                  <a:gd name="connsiteX1" fmla="*/ 91646 w 952954"/>
                  <a:gd name="connsiteY1" fmla="*/ 0 h 183291"/>
                  <a:gd name="connsiteX2" fmla="*/ 0 w 952954"/>
                  <a:gd name="connsiteY2" fmla="*/ 91646 h 183291"/>
                  <a:gd name="connsiteX3" fmla="*/ 91646 w 952954"/>
                  <a:gd name="connsiteY3" fmla="*/ 183292 h 183291"/>
                  <a:gd name="connsiteX4" fmla="*/ 861309 w 952954"/>
                  <a:gd name="connsiteY4" fmla="*/ 183292 h 183291"/>
                  <a:gd name="connsiteX5" fmla="*/ 952955 w 952954"/>
                  <a:gd name="connsiteY5" fmla="*/ 91646 h 183291"/>
                  <a:gd name="connsiteX6" fmla="*/ 861309 w 952954"/>
                  <a:gd name="connsiteY6" fmla="*/ 0 h 18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954" h="183291">
                    <a:moveTo>
                      <a:pt x="861309" y="0"/>
                    </a:moveTo>
                    <a:lnTo>
                      <a:pt x="91646" y="0"/>
                    </a:lnTo>
                    <a:cubicBezTo>
                      <a:pt x="41062" y="0"/>
                      <a:pt x="0" y="41062"/>
                      <a:pt x="0" y="91646"/>
                    </a:cubicBezTo>
                    <a:cubicBezTo>
                      <a:pt x="0" y="142230"/>
                      <a:pt x="41062" y="183292"/>
                      <a:pt x="91646" y="183292"/>
                    </a:cubicBezTo>
                    <a:lnTo>
                      <a:pt x="861309" y="183292"/>
                    </a:lnTo>
                    <a:cubicBezTo>
                      <a:pt x="911892" y="183292"/>
                      <a:pt x="952955" y="142230"/>
                      <a:pt x="952955" y="91646"/>
                    </a:cubicBezTo>
                    <a:cubicBezTo>
                      <a:pt x="952955" y="41062"/>
                      <a:pt x="911892" y="0"/>
                      <a:pt x="861309" y="0"/>
                    </a:cubicBezTo>
                    <a:close/>
                  </a:path>
                </a:pathLst>
              </a:custGeom>
              <a:grpFill/>
              <a:ln w="12695"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grpSp>
        <p:sp>
          <p:nvSpPr>
            <p:cNvPr id="131" name="Arco 130">
              <a:extLst>
                <a:ext uri="{FF2B5EF4-FFF2-40B4-BE49-F238E27FC236}">
                  <a16:creationId xmlns:a16="http://schemas.microsoft.com/office/drawing/2014/main" id="{908EE3CC-43D3-2375-A8EE-894FFFCB9C69}"/>
                </a:ext>
              </a:extLst>
            </p:cNvPr>
            <p:cNvSpPr/>
            <p:nvPr/>
          </p:nvSpPr>
          <p:spPr>
            <a:xfrm>
              <a:off x="1932337" y="4917062"/>
              <a:ext cx="640417" cy="639904"/>
            </a:xfrm>
            <a:prstGeom prst="arc">
              <a:avLst>
                <a:gd name="adj1" fmla="val 2425731"/>
                <a:gd name="adj2" fmla="val 6345339"/>
              </a:avLst>
            </a:prstGeom>
            <a:ln w="34925">
              <a:solidFill>
                <a:srgbClr val="FF5000"/>
              </a:solidFill>
            </a:ln>
          </p:spPr>
          <p:style>
            <a:lnRef idx="1">
              <a:schemeClr val="accent1"/>
            </a:lnRef>
            <a:fillRef idx="0">
              <a:schemeClr val="accent1"/>
            </a:fillRef>
            <a:effectRef idx="0">
              <a:schemeClr val="accent1"/>
            </a:effectRef>
            <a:fontRef idx="minor">
              <a:schemeClr val="tx1"/>
            </a:fontRef>
          </p:style>
          <p:txBody>
            <a:bodyPr anchor="ctr"/>
            <a:lstStyle/>
            <a:p>
              <a:pPr algn="r" defTabSz="914400" eaLnBrk="0" hangingPunct="0">
                <a:defRPr/>
              </a:pPr>
              <a:endParaRPr lang="pt-BR">
                <a:solidFill>
                  <a:prstClr val="black"/>
                </a:solidFill>
              </a:endParaRPr>
            </a:p>
          </p:txBody>
        </p:sp>
      </p:grpSp>
      <p:grpSp>
        <p:nvGrpSpPr>
          <p:cNvPr id="66" name="Agrupar 65">
            <a:extLst>
              <a:ext uri="{FF2B5EF4-FFF2-40B4-BE49-F238E27FC236}">
                <a16:creationId xmlns:a16="http://schemas.microsoft.com/office/drawing/2014/main" id="{9083D26A-D2B5-5C0A-1C52-3EBF4F857214}"/>
              </a:ext>
            </a:extLst>
          </p:cNvPr>
          <p:cNvGrpSpPr>
            <a:grpSpLocks/>
          </p:cNvGrpSpPr>
          <p:nvPr/>
        </p:nvGrpSpPr>
        <p:grpSpPr bwMode="auto">
          <a:xfrm>
            <a:off x="1892300" y="2347913"/>
            <a:ext cx="676275" cy="792162"/>
            <a:chOff x="1930296" y="2537845"/>
            <a:chExt cx="675743" cy="792858"/>
          </a:xfrm>
        </p:grpSpPr>
        <p:grpSp>
          <p:nvGrpSpPr>
            <p:cNvPr id="31" name="Agrupar 30">
              <a:extLst>
                <a:ext uri="{FF2B5EF4-FFF2-40B4-BE49-F238E27FC236}">
                  <a16:creationId xmlns:a16="http://schemas.microsoft.com/office/drawing/2014/main" id="{83A13B5A-2AF9-8EE7-6307-37369D721A2B}"/>
                </a:ext>
              </a:extLst>
            </p:cNvPr>
            <p:cNvGrpSpPr/>
            <p:nvPr/>
          </p:nvGrpSpPr>
          <p:grpSpPr>
            <a:xfrm flipH="1">
              <a:off x="1941568" y="2537845"/>
              <a:ext cx="664471" cy="792858"/>
              <a:chOff x="-5511917" y="-2015314"/>
              <a:chExt cx="3264040" cy="3894703"/>
            </a:xfrm>
            <a:solidFill>
              <a:schemeClr val="bg1"/>
            </a:solidFill>
          </p:grpSpPr>
          <p:sp>
            <p:nvSpPr>
              <p:cNvPr id="6" name="Forma Livre: Forma 5">
                <a:extLst>
                  <a:ext uri="{FF2B5EF4-FFF2-40B4-BE49-F238E27FC236}">
                    <a16:creationId xmlns:a16="http://schemas.microsoft.com/office/drawing/2014/main" id="{BF82EC3C-B676-7258-4AFE-8D46B054A5E9}"/>
                  </a:ext>
                </a:extLst>
              </p:cNvPr>
              <p:cNvSpPr/>
              <p:nvPr/>
            </p:nvSpPr>
            <p:spPr>
              <a:xfrm>
                <a:off x="-5511917" y="-2015314"/>
                <a:ext cx="3264040" cy="3894703"/>
              </a:xfrm>
              <a:custGeom>
                <a:avLst/>
                <a:gdLst>
                  <a:gd name="connsiteX0" fmla="*/ 1663365 w 3264040"/>
                  <a:gd name="connsiteY0" fmla="*/ 778898 h 3894703"/>
                  <a:gd name="connsiteX1" fmla="*/ 835746 w 3264040"/>
                  <a:gd name="connsiteY1" fmla="*/ 0 h 3894703"/>
                  <a:gd name="connsiteX2" fmla="*/ 0 w 3264040"/>
                  <a:gd name="connsiteY2" fmla="*/ 835667 h 3894703"/>
                  <a:gd name="connsiteX3" fmla="*/ 340753 w 3264040"/>
                  <a:gd name="connsiteY3" fmla="*/ 1590221 h 3894703"/>
                  <a:gd name="connsiteX4" fmla="*/ 1671349 w 3264040"/>
                  <a:gd name="connsiteY4" fmla="*/ 3894420 h 3894703"/>
                  <a:gd name="connsiteX5" fmla="*/ 3261562 w 3264040"/>
                  <a:gd name="connsiteY5" fmla="*/ 2369072 h 3894703"/>
                  <a:gd name="connsiteX6" fmla="*/ 3261562 w 3264040"/>
                  <a:gd name="connsiteY6" fmla="*/ 2360948 h 3894703"/>
                  <a:gd name="connsiteX7" fmla="*/ 1663221 w 3264040"/>
                  <a:gd name="connsiteY7" fmla="*/ 778863 h 3894703"/>
                  <a:gd name="connsiteX8" fmla="*/ 3050777 w 3264040"/>
                  <a:gd name="connsiteY8" fmla="*/ 1963430 h 3894703"/>
                  <a:gd name="connsiteX9" fmla="*/ 2361119 w 3264040"/>
                  <a:gd name="connsiteY9" fmla="*/ 1679453 h 3894703"/>
                  <a:gd name="connsiteX10" fmla="*/ 2077142 w 3264040"/>
                  <a:gd name="connsiteY10" fmla="*/ 989795 h 3894703"/>
                  <a:gd name="connsiteX11" fmla="*/ 3050745 w 3264040"/>
                  <a:gd name="connsiteY11" fmla="*/ 1963398 h 3894703"/>
                  <a:gd name="connsiteX12" fmla="*/ 2223159 w 3264040"/>
                  <a:gd name="connsiteY12" fmla="*/ 2855913 h 3894703"/>
                  <a:gd name="connsiteX13" fmla="*/ 1192740 w 3264040"/>
                  <a:gd name="connsiteY13" fmla="*/ 2855913 h 3894703"/>
                  <a:gd name="connsiteX14" fmla="*/ 1192740 w 3264040"/>
                  <a:gd name="connsiteY14" fmla="*/ 1825494 h 3894703"/>
                  <a:gd name="connsiteX15" fmla="*/ 2223159 w 3264040"/>
                  <a:gd name="connsiteY15" fmla="*/ 1825494 h 3894703"/>
                  <a:gd name="connsiteX16" fmla="*/ 2223159 w 3264040"/>
                  <a:gd name="connsiteY16" fmla="*/ 2855913 h 3894703"/>
                  <a:gd name="connsiteX17" fmla="*/ 1647085 w 3264040"/>
                  <a:gd name="connsiteY17" fmla="*/ 949267 h 3894703"/>
                  <a:gd name="connsiteX18" fmla="*/ 2182567 w 3264040"/>
                  <a:gd name="connsiteY18" fmla="*/ 1655141 h 3894703"/>
                  <a:gd name="connsiteX19" fmla="*/ 1273828 w 3264040"/>
                  <a:gd name="connsiteY19" fmla="*/ 1647017 h 3894703"/>
                  <a:gd name="connsiteX20" fmla="*/ 1647045 w 3264040"/>
                  <a:gd name="connsiteY20" fmla="*/ 949271 h 3894703"/>
                  <a:gd name="connsiteX21" fmla="*/ 162376 w 3264040"/>
                  <a:gd name="connsiteY21" fmla="*/ 835683 h 3894703"/>
                  <a:gd name="connsiteX22" fmla="*/ 835786 w 3264040"/>
                  <a:gd name="connsiteY22" fmla="*/ 162273 h 3894703"/>
                  <a:gd name="connsiteX23" fmla="*/ 1509196 w 3264040"/>
                  <a:gd name="connsiteY23" fmla="*/ 860019 h 3894703"/>
                  <a:gd name="connsiteX24" fmla="*/ 843882 w 3264040"/>
                  <a:gd name="connsiteY24" fmla="*/ 1939126 h 3894703"/>
                  <a:gd name="connsiteX25" fmla="*/ 162384 w 3264040"/>
                  <a:gd name="connsiteY25" fmla="*/ 835714 h 3894703"/>
                  <a:gd name="connsiteX26" fmla="*/ 543689 w 3264040"/>
                  <a:gd name="connsiteY26" fmla="*/ 1849846 h 3894703"/>
                  <a:gd name="connsiteX27" fmla="*/ 357081 w 3264040"/>
                  <a:gd name="connsiteY27" fmla="*/ 1963430 h 3894703"/>
                  <a:gd name="connsiteX28" fmla="*/ 446321 w 3264040"/>
                  <a:gd name="connsiteY28" fmla="*/ 1728142 h 3894703"/>
                  <a:gd name="connsiteX29" fmla="*/ 543689 w 3264040"/>
                  <a:gd name="connsiteY29" fmla="*/ 1849846 h 3894703"/>
                  <a:gd name="connsiteX30" fmla="*/ 649178 w 3264040"/>
                  <a:gd name="connsiteY30" fmla="*/ 1979678 h 3894703"/>
                  <a:gd name="connsiteX31" fmla="*/ 1006179 w 3264040"/>
                  <a:gd name="connsiteY31" fmla="*/ 1987802 h 3894703"/>
                  <a:gd name="connsiteX32" fmla="*/ 1022396 w 3264040"/>
                  <a:gd name="connsiteY32" fmla="*/ 2815420 h 3894703"/>
                  <a:gd name="connsiteX33" fmla="*/ 649179 w 3264040"/>
                  <a:gd name="connsiteY33" fmla="*/ 1979674 h 3894703"/>
                  <a:gd name="connsiteX34" fmla="*/ 357081 w 3264040"/>
                  <a:gd name="connsiteY34" fmla="*/ 2709896 h 3894703"/>
                  <a:gd name="connsiteX35" fmla="*/ 1046739 w 3264040"/>
                  <a:gd name="connsiteY35" fmla="*/ 2993873 h 3894703"/>
                  <a:gd name="connsiteX36" fmla="*/ 1330716 w 3264040"/>
                  <a:gd name="connsiteY36" fmla="*/ 3683531 h 3894703"/>
                  <a:gd name="connsiteX37" fmla="*/ 357113 w 3264040"/>
                  <a:gd name="connsiteY37" fmla="*/ 2709928 h 3894703"/>
                  <a:gd name="connsiteX38" fmla="*/ 1225259 w 3264040"/>
                  <a:gd name="connsiteY38" fmla="*/ 3018186 h 3894703"/>
                  <a:gd name="connsiteX39" fmla="*/ 2190734 w 3264040"/>
                  <a:gd name="connsiteY39" fmla="*/ 3018186 h 3894703"/>
                  <a:gd name="connsiteX40" fmla="*/ 1225259 w 3264040"/>
                  <a:gd name="connsiteY40" fmla="*/ 3018186 h 3894703"/>
                  <a:gd name="connsiteX41" fmla="*/ 2077182 w 3264040"/>
                  <a:gd name="connsiteY41" fmla="*/ 3683499 h 3894703"/>
                  <a:gd name="connsiteX42" fmla="*/ 2361159 w 3264040"/>
                  <a:gd name="connsiteY42" fmla="*/ 2993841 h 3894703"/>
                  <a:gd name="connsiteX43" fmla="*/ 3050817 w 3264040"/>
                  <a:gd name="connsiteY43" fmla="*/ 2709865 h 3894703"/>
                  <a:gd name="connsiteX44" fmla="*/ 2077214 w 3264040"/>
                  <a:gd name="connsiteY44" fmla="*/ 3683467 h 3894703"/>
                  <a:gd name="connsiteX45" fmla="*/ 2393623 w 3264040"/>
                  <a:gd name="connsiteY45" fmla="*/ 2815321 h 3894703"/>
                  <a:gd name="connsiteX46" fmla="*/ 2393623 w 3264040"/>
                  <a:gd name="connsiteY46" fmla="*/ 1849846 h 3894703"/>
                  <a:gd name="connsiteX47" fmla="*/ 2393623 w 3264040"/>
                  <a:gd name="connsiteY47" fmla="*/ 2815321 h 389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264040" h="3894703">
                    <a:moveTo>
                      <a:pt x="1663365" y="778898"/>
                    </a:moveTo>
                    <a:cubicBezTo>
                      <a:pt x="1639023" y="340785"/>
                      <a:pt x="1273932" y="0"/>
                      <a:pt x="835746" y="0"/>
                    </a:cubicBezTo>
                    <a:cubicBezTo>
                      <a:pt x="373289" y="0"/>
                      <a:pt x="0" y="373217"/>
                      <a:pt x="0" y="835667"/>
                    </a:cubicBezTo>
                    <a:cubicBezTo>
                      <a:pt x="0" y="1014147"/>
                      <a:pt x="113584" y="1265692"/>
                      <a:pt x="340753" y="1590221"/>
                    </a:cubicBezTo>
                    <a:cubicBezTo>
                      <a:pt x="-219041" y="2596256"/>
                      <a:pt x="494930" y="3870116"/>
                      <a:pt x="1671349" y="3894420"/>
                    </a:cubicBezTo>
                    <a:cubicBezTo>
                      <a:pt x="2547576" y="3910638"/>
                      <a:pt x="3245386" y="3229106"/>
                      <a:pt x="3261562" y="2369072"/>
                    </a:cubicBezTo>
                    <a:lnTo>
                      <a:pt x="3261562" y="2360948"/>
                    </a:lnTo>
                    <a:cubicBezTo>
                      <a:pt x="3310246" y="1582081"/>
                      <a:pt x="2636840" y="754479"/>
                      <a:pt x="1663221" y="778863"/>
                    </a:cubicBezTo>
                    <a:close/>
                    <a:moveTo>
                      <a:pt x="3050777" y="1963430"/>
                    </a:moveTo>
                    <a:cubicBezTo>
                      <a:pt x="2896632" y="1841726"/>
                      <a:pt x="2653216" y="1744358"/>
                      <a:pt x="2361119" y="1679453"/>
                    </a:cubicBezTo>
                    <a:cubicBezTo>
                      <a:pt x="2296219" y="1379260"/>
                      <a:pt x="2198854" y="1143972"/>
                      <a:pt x="2077142" y="989795"/>
                    </a:cubicBezTo>
                    <a:cubicBezTo>
                      <a:pt x="2547727" y="1119628"/>
                      <a:pt x="2920937" y="1492845"/>
                      <a:pt x="3050745" y="1963398"/>
                    </a:cubicBezTo>
                    <a:close/>
                    <a:moveTo>
                      <a:pt x="2223159" y="2855913"/>
                    </a:moveTo>
                    <a:cubicBezTo>
                      <a:pt x="1882406" y="2912720"/>
                      <a:pt x="1525412" y="2912720"/>
                      <a:pt x="1192740" y="2855913"/>
                    </a:cubicBezTo>
                    <a:cubicBezTo>
                      <a:pt x="1135932" y="2507040"/>
                      <a:pt x="1135932" y="2141911"/>
                      <a:pt x="1192740" y="1825494"/>
                    </a:cubicBezTo>
                    <a:cubicBezTo>
                      <a:pt x="1541612" y="1768686"/>
                      <a:pt x="1906742" y="1768686"/>
                      <a:pt x="2223159" y="1825494"/>
                    </a:cubicBezTo>
                    <a:cubicBezTo>
                      <a:pt x="2271842" y="2150031"/>
                      <a:pt x="2279935" y="2507024"/>
                      <a:pt x="2223159" y="2855913"/>
                    </a:cubicBezTo>
                    <a:close/>
                    <a:moveTo>
                      <a:pt x="1647085" y="949267"/>
                    </a:moveTo>
                    <a:cubicBezTo>
                      <a:pt x="1922934" y="876242"/>
                      <a:pt x="2117670" y="1363044"/>
                      <a:pt x="2182567" y="1655141"/>
                    </a:cubicBezTo>
                    <a:cubicBezTo>
                      <a:pt x="1914806" y="1614583"/>
                      <a:pt x="1574061" y="1606458"/>
                      <a:pt x="1273828" y="1647017"/>
                    </a:cubicBezTo>
                    <a:cubicBezTo>
                      <a:pt x="1411756" y="1452313"/>
                      <a:pt x="1598365" y="1176464"/>
                      <a:pt x="1647045" y="949271"/>
                    </a:cubicBezTo>
                    <a:close/>
                    <a:moveTo>
                      <a:pt x="162376" y="835683"/>
                    </a:moveTo>
                    <a:cubicBezTo>
                      <a:pt x="162376" y="462465"/>
                      <a:pt x="462569" y="162273"/>
                      <a:pt x="835786" y="162273"/>
                    </a:cubicBezTo>
                    <a:cubicBezTo>
                      <a:pt x="1225219" y="162273"/>
                      <a:pt x="1525444" y="494930"/>
                      <a:pt x="1509196" y="860019"/>
                    </a:cubicBezTo>
                    <a:cubicBezTo>
                      <a:pt x="1509196" y="1119652"/>
                      <a:pt x="1038611" y="1711941"/>
                      <a:pt x="843882" y="1939126"/>
                    </a:cubicBezTo>
                    <a:cubicBezTo>
                      <a:pt x="632930" y="1711957"/>
                      <a:pt x="162384" y="1135891"/>
                      <a:pt x="162384" y="835714"/>
                    </a:cubicBezTo>
                    <a:close/>
                    <a:moveTo>
                      <a:pt x="543689" y="1849846"/>
                    </a:moveTo>
                    <a:cubicBezTo>
                      <a:pt x="470664" y="1882311"/>
                      <a:pt x="413889" y="1922871"/>
                      <a:pt x="357081" y="1963430"/>
                    </a:cubicBezTo>
                    <a:cubicBezTo>
                      <a:pt x="381422" y="1882278"/>
                      <a:pt x="405764" y="1801166"/>
                      <a:pt x="446321" y="1728142"/>
                    </a:cubicBezTo>
                    <a:cubicBezTo>
                      <a:pt x="478787" y="1776825"/>
                      <a:pt x="511252" y="1817414"/>
                      <a:pt x="543689" y="1849846"/>
                    </a:cubicBezTo>
                    <a:close/>
                    <a:moveTo>
                      <a:pt x="649178" y="1979678"/>
                    </a:moveTo>
                    <a:cubicBezTo>
                      <a:pt x="835786" y="2198751"/>
                      <a:pt x="819570" y="2206847"/>
                      <a:pt x="1006179" y="1987802"/>
                    </a:cubicBezTo>
                    <a:cubicBezTo>
                      <a:pt x="981837" y="2263651"/>
                      <a:pt x="989961" y="2563844"/>
                      <a:pt x="1022396" y="2815420"/>
                    </a:cubicBezTo>
                    <a:cubicBezTo>
                      <a:pt x="332738" y="2661244"/>
                      <a:pt x="16361" y="2279907"/>
                      <a:pt x="649179" y="1979674"/>
                    </a:cubicBezTo>
                    <a:close/>
                    <a:moveTo>
                      <a:pt x="357081" y="2709896"/>
                    </a:moveTo>
                    <a:cubicBezTo>
                      <a:pt x="511225" y="2831601"/>
                      <a:pt x="754642" y="2937065"/>
                      <a:pt x="1046739" y="2993873"/>
                    </a:cubicBezTo>
                    <a:cubicBezTo>
                      <a:pt x="1103546" y="3285970"/>
                      <a:pt x="1209003" y="3529355"/>
                      <a:pt x="1330716" y="3683531"/>
                    </a:cubicBezTo>
                    <a:cubicBezTo>
                      <a:pt x="860130" y="3553699"/>
                      <a:pt x="486921" y="3180450"/>
                      <a:pt x="357113" y="2709928"/>
                    </a:cubicBezTo>
                    <a:close/>
                    <a:moveTo>
                      <a:pt x="1225259" y="3018186"/>
                    </a:moveTo>
                    <a:cubicBezTo>
                      <a:pt x="1541700" y="3066869"/>
                      <a:pt x="1898669" y="3058744"/>
                      <a:pt x="2190734" y="3018186"/>
                    </a:cubicBezTo>
                    <a:cubicBezTo>
                      <a:pt x="1971662" y="3926924"/>
                      <a:pt x="1452428" y="4008045"/>
                      <a:pt x="1225259" y="3018186"/>
                    </a:cubicBezTo>
                    <a:close/>
                    <a:moveTo>
                      <a:pt x="2077182" y="3683499"/>
                    </a:moveTo>
                    <a:cubicBezTo>
                      <a:pt x="2198886" y="3529355"/>
                      <a:pt x="2304351" y="3285938"/>
                      <a:pt x="2361159" y="2993841"/>
                    </a:cubicBezTo>
                    <a:cubicBezTo>
                      <a:pt x="2653256" y="2928941"/>
                      <a:pt x="2896640" y="2831577"/>
                      <a:pt x="3050817" y="2709865"/>
                    </a:cubicBezTo>
                    <a:cubicBezTo>
                      <a:pt x="2920984" y="3180450"/>
                      <a:pt x="2547767" y="3553659"/>
                      <a:pt x="2077214" y="3683467"/>
                    </a:cubicBezTo>
                    <a:close/>
                    <a:moveTo>
                      <a:pt x="2393623" y="2815321"/>
                    </a:moveTo>
                    <a:cubicBezTo>
                      <a:pt x="2434181" y="2523224"/>
                      <a:pt x="2442306" y="2166255"/>
                      <a:pt x="2393623" y="1849846"/>
                    </a:cubicBezTo>
                    <a:cubicBezTo>
                      <a:pt x="3334794" y="2077015"/>
                      <a:pt x="3342842" y="2596280"/>
                      <a:pt x="2393623" y="2815321"/>
                    </a:cubicBezTo>
                    <a:close/>
                  </a:path>
                </a:pathLst>
              </a:custGeom>
              <a:grpFill/>
              <a:ln w="7960" cap="flat">
                <a:noFill/>
                <a:prstDash val="solid"/>
                <a:miter/>
              </a:ln>
            </p:spPr>
            <p:txBody>
              <a:bodyPr anchor="ctr"/>
              <a:lstStyle/>
              <a:p>
                <a:pPr algn="r" defTabSz="914400" eaLnBrk="0" hangingPunct="0">
                  <a:defRPr/>
                </a:pPr>
                <a:endParaRPr lang="pt-BR" dirty="0">
                  <a:solidFill>
                    <a:prstClr val="black"/>
                  </a:solidFill>
                  <a:latin typeface="Arial" panose="020B0604020202020204" pitchFamily="34" charset="0"/>
                  <a:ea typeface="ＭＳ Ｐゴシック" panose="020B0600070205080204" pitchFamily="34" charset="-128"/>
                  <a:cs typeface="+mn-cs"/>
                </a:endParaRPr>
              </a:p>
            </p:txBody>
          </p:sp>
          <p:sp>
            <p:nvSpPr>
              <p:cNvPr id="8" name="Forma Livre: Forma 7">
                <a:extLst>
                  <a:ext uri="{FF2B5EF4-FFF2-40B4-BE49-F238E27FC236}">
                    <a16:creationId xmlns:a16="http://schemas.microsoft.com/office/drawing/2014/main" id="{CE71CAD3-07C7-20D7-CC18-90C8A4A2F487}"/>
                  </a:ext>
                </a:extLst>
              </p:cNvPr>
              <p:cNvSpPr/>
              <p:nvPr/>
            </p:nvSpPr>
            <p:spPr>
              <a:xfrm>
                <a:off x="-5227821" y="-1723209"/>
                <a:ext cx="1087219" cy="1087219"/>
              </a:xfrm>
              <a:custGeom>
                <a:avLst/>
                <a:gdLst>
                  <a:gd name="connsiteX0" fmla="*/ 1087219 w 1087219"/>
                  <a:gd name="connsiteY0" fmla="*/ 543610 h 1087219"/>
                  <a:gd name="connsiteX1" fmla="*/ 543610 w 1087219"/>
                  <a:gd name="connsiteY1" fmla="*/ 0 h 1087219"/>
                  <a:gd name="connsiteX2" fmla="*/ 0 w 1087219"/>
                  <a:gd name="connsiteY2" fmla="*/ 543610 h 1087219"/>
                  <a:gd name="connsiteX3" fmla="*/ 543610 w 1087219"/>
                  <a:gd name="connsiteY3" fmla="*/ 1087219 h 1087219"/>
                  <a:gd name="connsiteX4" fmla="*/ 1087219 w 1087219"/>
                  <a:gd name="connsiteY4" fmla="*/ 543610 h 1087219"/>
                  <a:gd name="connsiteX5" fmla="*/ 162304 w 1087219"/>
                  <a:gd name="connsiteY5" fmla="*/ 543610 h 1087219"/>
                  <a:gd name="connsiteX6" fmla="*/ 543642 w 1087219"/>
                  <a:gd name="connsiteY6" fmla="*/ 162272 h 1087219"/>
                  <a:gd name="connsiteX7" fmla="*/ 924979 w 1087219"/>
                  <a:gd name="connsiteY7" fmla="*/ 543610 h 1087219"/>
                  <a:gd name="connsiteX8" fmla="*/ 543642 w 1087219"/>
                  <a:gd name="connsiteY8" fmla="*/ 924947 h 1087219"/>
                  <a:gd name="connsiteX9" fmla="*/ 162304 w 1087219"/>
                  <a:gd name="connsiteY9" fmla="*/ 543610 h 10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7219" h="1087219">
                    <a:moveTo>
                      <a:pt x="1087219" y="543610"/>
                    </a:moveTo>
                    <a:cubicBezTo>
                      <a:pt x="1087219" y="243417"/>
                      <a:pt x="843803" y="0"/>
                      <a:pt x="543610" y="0"/>
                    </a:cubicBezTo>
                    <a:cubicBezTo>
                      <a:pt x="243417" y="0"/>
                      <a:pt x="0" y="243417"/>
                      <a:pt x="0" y="543610"/>
                    </a:cubicBezTo>
                    <a:cubicBezTo>
                      <a:pt x="0" y="843803"/>
                      <a:pt x="243417" y="1087219"/>
                      <a:pt x="543610" y="1087219"/>
                    </a:cubicBezTo>
                    <a:cubicBezTo>
                      <a:pt x="843803" y="1087219"/>
                      <a:pt x="1087219" y="843835"/>
                      <a:pt x="1087219" y="543610"/>
                    </a:cubicBezTo>
                    <a:close/>
                    <a:moveTo>
                      <a:pt x="162304" y="543610"/>
                    </a:moveTo>
                    <a:cubicBezTo>
                      <a:pt x="162304" y="332657"/>
                      <a:pt x="332697" y="162272"/>
                      <a:pt x="543642" y="162272"/>
                    </a:cubicBezTo>
                    <a:cubicBezTo>
                      <a:pt x="754594" y="162272"/>
                      <a:pt x="924979" y="332665"/>
                      <a:pt x="924979" y="543610"/>
                    </a:cubicBezTo>
                    <a:cubicBezTo>
                      <a:pt x="924979" y="754562"/>
                      <a:pt x="754586" y="924947"/>
                      <a:pt x="543642" y="924947"/>
                    </a:cubicBezTo>
                    <a:cubicBezTo>
                      <a:pt x="332689" y="924947"/>
                      <a:pt x="162304" y="754554"/>
                      <a:pt x="162304" y="543610"/>
                    </a:cubicBezTo>
                    <a:close/>
                  </a:path>
                </a:pathLst>
              </a:custGeom>
              <a:grpFill/>
              <a:ln w="7960" cap="flat">
                <a:noFill/>
                <a:prstDash val="solid"/>
                <a:miter/>
              </a:ln>
            </p:spPr>
            <p:txBody>
              <a:bodyPr anchor="ctr"/>
              <a:lstStyle/>
              <a:p>
                <a:pPr algn="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grpSp>
        <p:sp>
          <p:nvSpPr>
            <p:cNvPr id="132" name="Arco 131">
              <a:extLst>
                <a:ext uri="{FF2B5EF4-FFF2-40B4-BE49-F238E27FC236}">
                  <a16:creationId xmlns:a16="http://schemas.microsoft.com/office/drawing/2014/main" id="{3FDCB73B-8D66-0D76-447A-3D039C851A4F}"/>
                </a:ext>
              </a:extLst>
            </p:cNvPr>
            <p:cNvSpPr/>
            <p:nvPr/>
          </p:nvSpPr>
          <p:spPr>
            <a:xfrm>
              <a:off x="1930296" y="2677668"/>
              <a:ext cx="639260" cy="638736"/>
            </a:xfrm>
            <a:prstGeom prst="arc">
              <a:avLst>
                <a:gd name="adj1" fmla="val 2425731"/>
                <a:gd name="adj2" fmla="val 6345339"/>
              </a:avLst>
            </a:prstGeom>
            <a:ln w="34925">
              <a:solidFill>
                <a:srgbClr val="FF5000"/>
              </a:solidFill>
            </a:ln>
          </p:spPr>
          <p:style>
            <a:lnRef idx="1">
              <a:schemeClr val="accent1"/>
            </a:lnRef>
            <a:fillRef idx="0">
              <a:schemeClr val="accent1"/>
            </a:fillRef>
            <a:effectRef idx="0">
              <a:schemeClr val="accent1"/>
            </a:effectRef>
            <a:fontRef idx="minor">
              <a:schemeClr val="tx1"/>
            </a:fontRef>
          </p:style>
          <p:txBody>
            <a:bodyPr anchor="ctr"/>
            <a:lstStyle/>
            <a:p>
              <a:pPr algn="r" defTabSz="914400" eaLnBrk="0" hangingPunct="0">
                <a:defRPr/>
              </a:pPr>
              <a:endParaRPr lang="pt-BR">
                <a:solidFill>
                  <a:prstClr val="black"/>
                </a:solidFill>
              </a:endParaRPr>
            </a:p>
          </p:txBody>
        </p:sp>
      </p:grpSp>
      <p:grpSp>
        <p:nvGrpSpPr>
          <p:cNvPr id="254" name="Agrupar 253">
            <a:extLst>
              <a:ext uri="{FF2B5EF4-FFF2-40B4-BE49-F238E27FC236}">
                <a16:creationId xmlns:a16="http://schemas.microsoft.com/office/drawing/2014/main" id="{C49447F4-C373-AEF2-325C-29E5BBE7B018}"/>
              </a:ext>
            </a:extLst>
          </p:cNvPr>
          <p:cNvGrpSpPr>
            <a:grpSpLocks/>
          </p:cNvGrpSpPr>
          <p:nvPr/>
        </p:nvGrpSpPr>
        <p:grpSpPr bwMode="auto">
          <a:xfrm>
            <a:off x="12951847" y="2386013"/>
            <a:ext cx="631825" cy="560387"/>
            <a:chOff x="12649200" y="4213860"/>
            <a:chExt cx="589280" cy="523240"/>
          </a:xfrm>
        </p:grpSpPr>
        <p:cxnSp>
          <p:nvCxnSpPr>
            <p:cNvPr id="249" name="Conector reto 248">
              <a:extLst>
                <a:ext uri="{FF2B5EF4-FFF2-40B4-BE49-F238E27FC236}">
                  <a16:creationId xmlns:a16="http://schemas.microsoft.com/office/drawing/2014/main" id="{7BCC1B19-A6CF-A9A4-DB64-AF4CE3A23F2D}"/>
                </a:ext>
              </a:extLst>
            </p:cNvPr>
            <p:cNvCxnSpPr>
              <a:cxnSpLocks/>
            </p:cNvCxnSpPr>
            <p:nvPr/>
          </p:nvCxnSpPr>
          <p:spPr>
            <a:xfrm flipV="1">
              <a:off x="12666967" y="4213860"/>
              <a:ext cx="0" cy="52324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253" name="Forma Livre: Forma 252">
              <a:extLst>
                <a:ext uri="{FF2B5EF4-FFF2-40B4-BE49-F238E27FC236}">
                  <a16:creationId xmlns:a16="http://schemas.microsoft.com/office/drawing/2014/main" id="{2A649F37-AEE0-92F5-C6CF-F083DAE4ED9F}"/>
                </a:ext>
              </a:extLst>
            </p:cNvPr>
            <p:cNvSpPr/>
            <p:nvPr/>
          </p:nvSpPr>
          <p:spPr>
            <a:xfrm>
              <a:off x="12664006" y="4259810"/>
              <a:ext cx="567070" cy="409106"/>
            </a:xfrm>
            <a:custGeom>
              <a:avLst/>
              <a:gdLst>
                <a:gd name="connsiteX0" fmla="*/ 0 w 566420"/>
                <a:gd name="connsiteY0" fmla="*/ 408940 h 408940"/>
                <a:gd name="connsiteX1" fmla="*/ 289560 w 566420"/>
                <a:gd name="connsiteY1" fmla="*/ 119380 h 408940"/>
                <a:gd name="connsiteX2" fmla="*/ 368300 w 566420"/>
                <a:gd name="connsiteY2" fmla="*/ 195580 h 408940"/>
                <a:gd name="connsiteX3" fmla="*/ 566420 w 566420"/>
                <a:gd name="connsiteY3" fmla="*/ 0 h 408940"/>
              </a:gdLst>
              <a:ahLst/>
              <a:cxnLst>
                <a:cxn ang="0">
                  <a:pos x="connsiteX0" y="connsiteY0"/>
                </a:cxn>
                <a:cxn ang="0">
                  <a:pos x="connsiteX1" y="connsiteY1"/>
                </a:cxn>
                <a:cxn ang="0">
                  <a:pos x="connsiteX2" y="connsiteY2"/>
                </a:cxn>
                <a:cxn ang="0">
                  <a:pos x="connsiteX3" y="connsiteY3"/>
                </a:cxn>
              </a:cxnLst>
              <a:rect l="l" t="t" r="r" b="b"/>
              <a:pathLst>
                <a:path w="566420" h="408940">
                  <a:moveTo>
                    <a:pt x="0" y="408940"/>
                  </a:moveTo>
                  <a:lnTo>
                    <a:pt x="289560" y="119380"/>
                  </a:lnTo>
                  <a:lnTo>
                    <a:pt x="368300" y="195580"/>
                  </a:lnTo>
                  <a:lnTo>
                    <a:pt x="566420" y="0"/>
                  </a:lnTo>
                </a:path>
              </a:pathLst>
            </a:custGeom>
            <a:ln w="31750">
              <a:solidFill>
                <a:schemeClr val="bg1"/>
              </a:solidFill>
              <a:headEnd type="none" w="med" len="med"/>
              <a:tailEnd type="arrow" w="lg" len="sm"/>
            </a:ln>
          </p:spPr>
          <p:style>
            <a:lnRef idx="1">
              <a:schemeClr val="accent1"/>
            </a:lnRef>
            <a:fillRef idx="0">
              <a:schemeClr val="accent1"/>
            </a:fillRef>
            <a:effectRef idx="0">
              <a:schemeClr val="accent1"/>
            </a:effectRef>
            <a:fontRef idx="minor">
              <a:schemeClr val="tx1"/>
            </a:fontRef>
          </p:style>
          <p:txBody>
            <a:bodyPr anchor="ctr"/>
            <a:lstStyle/>
            <a:p>
              <a:pPr algn="ctr" defTabSz="914400" eaLnBrk="0" hangingPunct="0">
                <a:defRPr/>
              </a:pPr>
              <a:endParaRPr lang="pt-BR">
                <a:solidFill>
                  <a:prstClr val="black"/>
                </a:solidFill>
              </a:endParaRPr>
            </a:p>
          </p:txBody>
        </p:sp>
        <p:cxnSp>
          <p:nvCxnSpPr>
            <p:cNvPr id="255" name="Conector reto 254">
              <a:extLst>
                <a:ext uri="{FF2B5EF4-FFF2-40B4-BE49-F238E27FC236}">
                  <a16:creationId xmlns:a16="http://schemas.microsoft.com/office/drawing/2014/main" id="{507B8B0D-3A64-4140-C33B-340EC26DA17A}"/>
                </a:ext>
              </a:extLst>
            </p:cNvPr>
            <p:cNvCxnSpPr>
              <a:cxnSpLocks/>
            </p:cNvCxnSpPr>
            <p:nvPr/>
          </p:nvCxnSpPr>
          <p:spPr>
            <a:xfrm flipV="1">
              <a:off x="12957165" y="4396178"/>
              <a:ext cx="0" cy="340922"/>
            </a:xfrm>
            <a:prstGeom prst="line">
              <a:avLst/>
            </a:prstGeom>
            <a:ln w="222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57" name="Conector reto 256">
              <a:extLst>
                <a:ext uri="{FF2B5EF4-FFF2-40B4-BE49-F238E27FC236}">
                  <a16:creationId xmlns:a16="http://schemas.microsoft.com/office/drawing/2014/main" id="{D5C454EC-AF1B-6B83-7E89-E5D248312505}"/>
                </a:ext>
              </a:extLst>
            </p:cNvPr>
            <p:cNvCxnSpPr>
              <a:cxnSpLocks/>
            </p:cNvCxnSpPr>
            <p:nvPr/>
          </p:nvCxnSpPr>
          <p:spPr>
            <a:xfrm flipV="1">
              <a:off x="13142240" y="4363569"/>
              <a:ext cx="0" cy="373531"/>
            </a:xfrm>
            <a:prstGeom prst="line">
              <a:avLst/>
            </a:prstGeom>
            <a:ln w="2222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50" name="Conector reto 249">
              <a:extLst>
                <a:ext uri="{FF2B5EF4-FFF2-40B4-BE49-F238E27FC236}">
                  <a16:creationId xmlns:a16="http://schemas.microsoft.com/office/drawing/2014/main" id="{87CBA12B-5EA2-4A1D-1DC5-34EA49425B1A}"/>
                </a:ext>
              </a:extLst>
            </p:cNvPr>
            <p:cNvCxnSpPr>
              <a:cxnSpLocks/>
            </p:cNvCxnSpPr>
            <p:nvPr/>
          </p:nvCxnSpPr>
          <p:spPr>
            <a:xfrm>
              <a:off x="12649200" y="4737100"/>
              <a:ext cx="589280" cy="0"/>
            </a:xfrm>
            <a:prstGeom prst="line">
              <a:avLst/>
            </a:prstGeom>
            <a:ln w="31750">
              <a:solidFill>
                <a:srgbClr val="FF5000"/>
              </a:solidFill>
            </a:ln>
          </p:spPr>
          <p:style>
            <a:lnRef idx="1">
              <a:schemeClr val="accent1"/>
            </a:lnRef>
            <a:fillRef idx="0">
              <a:schemeClr val="accent1"/>
            </a:fillRef>
            <a:effectRef idx="0">
              <a:schemeClr val="accent1"/>
            </a:effectRef>
            <a:fontRef idx="minor">
              <a:schemeClr val="tx1"/>
            </a:fontRef>
          </p:style>
        </p:cxnSp>
      </p:grpSp>
      <p:grpSp>
        <p:nvGrpSpPr>
          <p:cNvPr id="14" name="Agrupar 13">
            <a:extLst>
              <a:ext uri="{FF2B5EF4-FFF2-40B4-BE49-F238E27FC236}">
                <a16:creationId xmlns:a16="http://schemas.microsoft.com/office/drawing/2014/main" id="{FD86258D-4B55-AEB4-ABFC-F1F4231E25DB}"/>
              </a:ext>
            </a:extLst>
          </p:cNvPr>
          <p:cNvGrpSpPr>
            <a:grpSpLocks/>
          </p:cNvGrpSpPr>
          <p:nvPr/>
        </p:nvGrpSpPr>
        <p:grpSpPr bwMode="auto">
          <a:xfrm>
            <a:off x="2017713" y="4660900"/>
            <a:ext cx="762000" cy="628650"/>
            <a:chOff x="2018440" y="4660210"/>
            <a:chExt cx="762000" cy="628650"/>
          </a:xfrm>
        </p:grpSpPr>
        <p:pic>
          <p:nvPicPr>
            <p:cNvPr id="6167" name="Gráfico 10">
              <a:extLst>
                <a:ext uri="{FF2B5EF4-FFF2-40B4-BE49-F238E27FC236}">
                  <a16:creationId xmlns:a16="http://schemas.microsoft.com/office/drawing/2014/main" id="{88A70D39-6BAD-0F47-03B4-A8914057E7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18440" y="4660210"/>
              <a:ext cx="7620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ector reto 11">
              <a:extLst>
                <a:ext uri="{FF2B5EF4-FFF2-40B4-BE49-F238E27FC236}">
                  <a16:creationId xmlns:a16="http://schemas.microsoft.com/office/drawing/2014/main" id="{1547BB50-4791-AA6E-2166-BB93FDF95292}"/>
                </a:ext>
              </a:extLst>
            </p:cNvPr>
            <p:cNvCxnSpPr>
              <a:cxnSpLocks/>
            </p:cNvCxnSpPr>
            <p:nvPr/>
          </p:nvCxnSpPr>
          <p:spPr>
            <a:xfrm>
              <a:off x="2018440" y="5276160"/>
              <a:ext cx="762000" cy="0"/>
            </a:xfrm>
            <a:prstGeom prst="line">
              <a:avLst/>
            </a:prstGeom>
            <a:ln w="34925">
              <a:solidFill>
                <a:srgbClr val="FF5000"/>
              </a:solidFill>
            </a:ln>
          </p:spPr>
          <p:style>
            <a:lnRef idx="1">
              <a:schemeClr val="accent1"/>
            </a:lnRef>
            <a:fillRef idx="0">
              <a:schemeClr val="accent1"/>
            </a:fillRef>
            <a:effectRef idx="0">
              <a:schemeClr val="accent1"/>
            </a:effectRef>
            <a:fontRef idx="minor">
              <a:schemeClr val="tx1"/>
            </a:fontRef>
          </p:style>
        </p:cxnSp>
      </p:grpSp>
      <p:pic>
        <p:nvPicPr>
          <p:cNvPr id="5" name="Picture 117">
            <a:extLst>
              <a:ext uri="{FF2B5EF4-FFF2-40B4-BE49-F238E27FC236}">
                <a16:creationId xmlns:a16="http://schemas.microsoft.com/office/drawing/2014/main" id="{E6C96156-A04D-7ADA-0587-00B1D159CA22}"/>
              </a:ext>
            </a:extLst>
          </p:cNvPr>
          <p:cNvPicPr>
            <a:picLocks noChangeAspect="1"/>
          </p:cNvPicPr>
          <p:nvPr/>
        </p:nvPicPr>
        <p:blipFill rotWithShape="1">
          <a:blip r:embed="rId10">
            <a:extLst>
              <a:ext uri="{28A0092B-C50C-407E-A947-70E740481C1C}">
                <a14:useLocalDpi xmlns:a14="http://schemas.microsoft.com/office/drawing/2010/main" val="0"/>
              </a:ext>
            </a:extLst>
          </a:blip>
          <a:srcRect l="7478" t="16399" r="37611"/>
          <a:stretch/>
        </p:blipFill>
        <p:spPr>
          <a:xfrm>
            <a:off x="2171773" y="1619250"/>
            <a:ext cx="9639300" cy="8255000"/>
          </a:xfrm>
          <a:prstGeom prst="rect">
            <a:avLst/>
          </a:prstGeom>
        </p:spPr>
      </p:pic>
      <p:sp>
        <p:nvSpPr>
          <p:cNvPr id="126" name="TextBox 125">
            <a:extLst>
              <a:ext uri="{FF2B5EF4-FFF2-40B4-BE49-F238E27FC236}">
                <a16:creationId xmlns:a16="http://schemas.microsoft.com/office/drawing/2014/main" id="{1C5D6906-A528-257E-BEDA-F9B5C8A9F7FB}"/>
              </a:ext>
            </a:extLst>
          </p:cNvPr>
          <p:cNvSpPr txBox="1">
            <a:spLocks noChangeArrowheads="1"/>
          </p:cNvSpPr>
          <p:nvPr/>
        </p:nvSpPr>
        <p:spPr bwMode="auto">
          <a:xfrm>
            <a:off x="5304307" y="1557338"/>
            <a:ext cx="2717800"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100" dirty="0" err="1">
                <a:solidFill>
                  <a:srgbClr val="FFFFFF"/>
                </a:solidFill>
                <a:latin typeface="Votorantim Sans Medium" panose="00000600000000000000" pitchFamily="2" charset="0"/>
              </a:rPr>
              <a:t>Comercializamos</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nuestros</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productos</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globalmente</a:t>
            </a:r>
            <a:r>
              <a:rPr lang="en-US" altLang="en-US" sz="2100" dirty="0">
                <a:solidFill>
                  <a:srgbClr val="FFFFFF"/>
                </a:solidFill>
                <a:latin typeface="Votorantim Sans Medium" panose="00000600000000000000" pitchFamily="2" charset="0"/>
              </a:rPr>
              <a:t>.</a:t>
            </a:r>
          </a:p>
        </p:txBody>
      </p:sp>
      <p:grpSp>
        <p:nvGrpSpPr>
          <p:cNvPr id="20" name="Agrupar 19">
            <a:extLst>
              <a:ext uri="{FF2B5EF4-FFF2-40B4-BE49-F238E27FC236}">
                <a16:creationId xmlns:a16="http://schemas.microsoft.com/office/drawing/2014/main" id="{3A4AB7D3-F4D2-6FCA-F37F-EA9E826299C9}"/>
              </a:ext>
            </a:extLst>
          </p:cNvPr>
          <p:cNvGrpSpPr>
            <a:grpSpLocks/>
          </p:cNvGrpSpPr>
          <p:nvPr/>
        </p:nvGrpSpPr>
        <p:grpSpPr bwMode="auto">
          <a:xfrm>
            <a:off x="5409082" y="936625"/>
            <a:ext cx="684213" cy="542925"/>
            <a:chOff x="5354702" y="937043"/>
            <a:chExt cx="684963" cy="542262"/>
          </a:xfrm>
        </p:grpSpPr>
        <p:pic>
          <p:nvPicPr>
            <p:cNvPr id="6165" name="Gráfico 17">
              <a:extLst>
                <a:ext uri="{FF2B5EF4-FFF2-40B4-BE49-F238E27FC236}">
                  <a16:creationId xmlns:a16="http://schemas.microsoft.com/office/drawing/2014/main" id="{D5D61885-07BE-C7EB-D1C1-4908E9D5535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54702" y="937043"/>
              <a:ext cx="684963" cy="54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Conector reto 18">
              <a:extLst>
                <a:ext uri="{FF2B5EF4-FFF2-40B4-BE49-F238E27FC236}">
                  <a16:creationId xmlns:a16="http://schemas.microsoft.com/office/drawing/2014/main" id="{D7061E71-52E7-5E20-78F3-D641E6AE689E}"/>
                </a:ext>
              </a:extLst>
            </p:cNvPr>
            <p:cNvCxnSpPr>
              <a:cxnSpLocks/>
            </p:cNvCxnSpPr>
            <p:nvPr/>
          </p:nvCxnSpPr>
          <p:spPr>
            <a:xfrm>
              <a:off x="5481841" y="1463449"/>
              <a:ext cx="430685" cy="0"/>
            </a:xfrm>
            <a:prstGeom prst="line">
              <a:avLst/>
            </a:prstGeom>
            <a:ln w="34925">
              <a:solidFill>
                <a:srgbClr val="FF5000"/>
              </a:solidFill>
            </a:ln>
          </p:spPr>
          <p:style>
            <a:lnRef idx="1">
              <a:schemeClr val="accent1"/>
            </a:lnRef>
            <a:fillRef idx="0">
              <a:schemeClr val="accent1"/>
            </a:fillRef>
            <a:effectRef idx="0">
              <a:schemeClr val="accent1"/>
            </a:effectRef>
            <a:fontRef idx="minor">
              <a:schemeClr val="tx1"/>
            </a:fontRef>
          </p:style>
        </p:cxnSp>
      </p:grpSp>
      <p:grpSp>
        <p:nvGrpSpPr>
          <p:cNvPr id="180" name="Agrupar 179">
            <a:extLst>
              <a:ext uri="{FF2B5EF4-FFF2-40B4-BE49-F238E27FC236}">
                <a16:creationId xmlns:a16="http://schemas.microsoft.com/office/drawing/2014/main" id="{B213B6D0-4A9A-8277-33B7-A321DB697A1F}"/>
              </a:ext>
            </a:extLst>
          </p:cNvPr>
          <p:cNvGrpSpPr>
            <a:grpSpLocks/>
          </p:cNvGrpSpPr>
          <p:nvPr/>
        </p:nvGrpSpPr>
        <p:grpSpPr bwMode="auto">
          <a:xfrm>
            <a:off x="8795018" y="825500"/>
            <a:ext cx="692150" cy="620713"/>
            <a:chOff x="8324450" y="989881"/>
            <a:chExt cx="908847" cy="814914"/>
          </a:xfrm>
        </p:grpSpPr>
        <p:grpSp>
          <p:nvGrpSpPr>
            <p:cNvPr id="175" name="Agrupar 174">
              <a:extLst>
                <a:ext uri="{FF2B5EF4-FFF2-40B4-BE49-F238E27FC236}">
                  <a16:creationId xmlns:a16="http://schemas.microsoft.com/office/drawing/2014/main" id="{9ACF549D-7D00-7480-A9CD-8D237ECC0A7B}"/>
                </a:ext>
              </a:extLst>
            </p:cNvPr>
            <p:cNvGrpSpPr/>
            <p:nvPr/>
          </p:nvGrpSpPr>
          <p:grpSpPr>
            <a:xfrm>
              <a:off x="8324450" y="989881"/>
              <a:ext cx="908847" cy="734991"/>
              <a:chOff x="-7126767" y="-2229615"/>
              <a:chExt cx="6398577" cy="5174574"/>
            </a:xfrm>
            <a:solidFill>
              <a:schemeClr val="bg1"/>
            </a:solidFill>
          </p:grpSpPr>
          <p:sp>
            <p:nvSpPr>
              <p:cNvPr id="162" name="Forma Livre: Forma 161">
                <a:extLst>
                  <a:ext uri="{FF2B5EF4-FFF2-40B4-BE49-F238E27FC236}">
                    <a16:creationId xmlns:a16="http://schemas.microsoft.com/office/drawing/2014/main" id="{5DF08F64-E9F4-8F25-3FA9-ACA703602F18}"/>
                  </a:ext>
                </a:extLst>
              </p:cNvPr>
              <p:cNvSpPr/>
              <p:nvPr/>
            </p:nvSpPr>
            <p:spPr>
              <a:xfrm>
                <a:off x="-5279363" y="-815830"/>
                <a:ext cx="1071624" cy="1071624"/>
              </a:xfrm>
              <a:custGeom>
                <a:avLst/>
                <a:gdLst>
                  <a:gd name="connsiteX0" fmla="*/ 535787 w 1071624"/>
                  <a:gd name="connsiteY0" fmla="*/ 1071624 h 1071624"/>
                  <a:gd name="connsiteX1" fmla="*/ 1071624 w 1071624"/>
                  <a:gd name="connsiteY1" fmla="*/ 535837 h 1071624"/>
                  <a:gd name="connsiteX2" fmla="*/ 535787 w 1071624"/>
                  <a:gd name="connsiteY2" fmla="*/ 0 h 1071624"/>
                  <a:gd name="connsiteX3" fmla="*/ 0 w 1071624"/>
                  <a:gd name="connsiteY3" fmla="*/ 535837 h 1071624"/>
                  <a:gd name="connsiteX4" fmla="*/ 535787 w 1071624"/>
                  <a:gd name="connsiteY4" fmla="*/ 1071624 h 1071624"/>
                  <a:gd name="connsiteX5" fmla="*/ 535787 w 1071624"/>
                  <a:gd name="connsiteY5" fmla="*/ 213296 h 1071624"/>
                  <a:gd name="connsiteX6" fmla="*/ 858328 w 1071624"/>
                  <a:gd name="connsiteY6" fmla="*/ 535837 h 1071624"/>
                  <a:gd name="connsiteX7" fmla="*/ 535787 w 1071624"/>
                  <a:gd name="connsiteY7" fmla="*/ 858328 h 1071624"/>
                  <a:gd name="connsiteX8" fmla="*/ 213296 w 1071624"/>
                  <a:gd name="connsiteY8" fmla="*/ 535837 h 1071624"/>
                  <a:gd name="connsiteX9" fmla="*/ 535787 w 1071624"/>
                  <a:gd name="connsiteY9" fmla="*/ 213296 h 107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24" h="1071624">
                    <a:moveTo>
                      <a:pt x="535787" y="1071624"/>
                    </a:moveTo>
                    <a:cubicBezTo>
                      <a:pt x="831248" y="1071624"/>
                      <a:pt x="1071624" y="831248"/>
                      <a:pt x="1071624" y="535837"/>
                    </a:cubicBezTo>
                    <a:cubicBezTo>
                      <a:pt x="1071624" y="240376"/>
                      <a:pt x="831248" y="0"/>
                      <a:pt x="535787" y="0"/>
                    </a:cubicBezTo>
                    <a:cubicBezTo>
                      <a:pt x="240363" y="0"/>
                      <a:pt x="0" y="240376"/>
                      <a:pt x="0" y="535837"/>
                    </a:cubicBezTo>
                    <a:cubicBezTo>
                      <a:pt x="-50" y="831299"/>
                      <a:pt x="240325" y="1071624"/>
                      <a:pt x="535787" y="1071624"/>
                    </a:cubicBezTo>
                    <a:close/>
                    <a:moveTo>
                      <a:pt x="535787" y="213296"/>
                    </a:moveTo>
                    <a:cubicBezTo>
                      <a:pt x="713676" y="213296"/>
                      <a:pt x="858328" y="357961"/>
                      <a:pt x="858328" y="535837"/>
                    </a:cubicBezTo>
                    <a:cubicBezTo>
                      <a:pt x="858328" y="713625"/>
                      <a:pt x="713663" y="858328"/>
                      <a:pt x="535787" y="858328"/>
                    </a:cubicBezTo>
                    <a:cubicBezTo>
                      <a:pt x="357999" y="858328"/>
                      <a:pt x="213296" y="713663"/>
                      <a:pt x="213296" y="535837"/>
                    </a:cubicBezTo>
                    <a:cubicBezTo>
                      <a:pt x="213197" y="357949"/>
                      <a:pt x="357962" y="213296"/>
                      <a:pt x="535787" y="213296"/>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63" name="Forma Livre: Forma 162">
                <a:extLst>
                  <a:ext uri="{FF2B5EF4-FFF2-40B4-BE49-F238E27FC236}">
                    <a16:creationId xmlns:a16="http://schemas.microsoft.com/office/drawing/2014/main" id="{05AD7E39-90B4-D6DA-2456-B9FAC82F2B32}"/>
                  </a:ext>
                </a:extLst>
              </p:cNvPr>
              <p:cNvSpPr/>
              <p:nvPr/>
            </p:nvSpPr>
            <p:spPr>
              <a:xfrm>
                <a:off x="-6098650" y="-1522604"/>
                <a:ext cx="1071623" cy="642408"/>
              </a:xfrm>
              <a:custGeom>
                <a:avLst/>
                <a:gdLst>
                  <a:gd name="connsiteX0" fmla="*/ 106728 w 1071623"/>
                  <a:gd name="connsiteY0" fmla="*/ 642408 h 642408"/>
                  <a:gd name="connsiteX1" fmla="*/ 213350 w 1071623"/>
                  <a:gd name="connsiteY1" fmla="*/ 535787 h 642408"/>
                  <a:gd name="connsiteX2" fmla="*/ 535840 w 1071623"/>
                  <a:gd name="connsiteY2" fmla="*/ 213296 h 642408"/>
                  <a:gd name="connsiteX3" fmla="*/ 858381 w 1071623"/>
                  <a:gd name="connsiteY3" fmla="*/ 535787 h 642408"/>
                  <a:gd name="connsiteX4" fmla="*/ 965003 w 1071623"/>
                  <a:gd name="connsiteY4" fmla="*/ 642408 h 642408"/>
                  <a:gd name="connsiteX5" fmla="*/ 1071624 w 1071623"/>
                  <a:gd name="connsiteY5" fmla="*/ 535787 h 642408"/>
                  <a:gd name="connsiteX6" fmla="*/ 535787 w 1071623"/>
                  <a:gd name="connsiteY6" fmla="*/ 0 h 642408"/>
                  <a:gd name="connsiteX7" fmla="*/ 0 w 1071623"/>
                  <a:gd name="connsiteY7" fmla="*/ 535787 h 642408"/>
                  <a:gd name="connsiteX8" fmla="*/ 106721 w 1071623"/>
                  <a:gd name="connsiteY8" fmla="*/ 642408 h 64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623" h="642408">
                    <a:moveTo>
                      <a:pt x="106728" y="642408"/>
                    </a:moveTo>
                    <a:cubicBezTo>
                      <a:pt x="165593" y="642408"/>
                      <a:pt x="213350" y="594652"/>
                      <a:pt x="213350" y="535787"/>
                    </a:cubicBezTo>
                    <a:cubicBezTo>
                      <a:pt x="213350" y="357999"/>
                      <a:pt x="358015" y="213296"/>
                      <a:pt x="535840" y="213296"/>
                    </a:cubicBezTo>
                    <a:cubicBezTo>
                      <a:pt x="713729" y="213296"/>
                      <a:pt x="858381" y="357961"/>
                      <a:pt x="858381" y="535787"/>
                    </a:cubicBezTo>
                    <a:cubicBezTo>
                      <a:pt x="858381" y="594652"/>
                      <a:pt x="906137" y="642408"/>
                      <a:pt x="965003" y="642408"/>
                    </a:cubicBezTo>
                    <a:cubicBezTo>
                      <a:pt x="1023868" y="642408"/>
                      <a:pt x="1071624" y="594652"/>
                      <a:pt x="1071624" y="535787"/>
                    </a:cubicBezTo>
                    <a:cubicBezTo>
                      <a:pt x="1071624" y="240363"/>
                      <a:pt x="831248" y="0"/>
                      <a:pt x="535787" y="0"/>
                    </a:cubicBezTo>
                    <a:cubicBezTo>
                      <a:pt x="240363" y="0"/>
                      <a:pt x="0" y="240376"/>
                      <a:pt x="0" y="535787"/>
                    </a:cubicBezTo>
                    <a:cubicBezTo>
                      <a:pt x="50" y="594652"/>
                      <a:pt x="47856" y="642408"/>
                      <a:pt x="106721" y="642408"/>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64" name="Forma Livre: Forma 163">
                <a:extLst>
                  <a:ext uri="{FF2B5EF4-FFF2-40B4-BE49-F238E27FC236}">
                    <a16:creationId xmlns:a16="http://schemas.microsoft.com/office/drawing/2014/main" id="{265DF53C-D946-749B-A56E-FF128C8AC406}"/>
                  </a:ext>
                </a:extLst>
              </p:cNvPr>
              <p:cNvSpPr/>
              <p:nvPr/>
            </p:nvSpPr>
            <p:spPr>
              <a:xfrm>
                <a:off x="-5494601" y="364252"/>
                <a:ext cx="1501935" cy="2580556"/>
              </a:xfrm>
              <a:custGeom>
                <a:avLst/>
                <a:gdLst>
                  <a:gd name="connsiteX0" fmla="*/ 1272427 w 1501935"/>
                  <a:gd name="connsiteY0" fmla="*/ 1478728 h 2580556"/>
                  <a:gd name="connsiteX1" fmla="*/ 1501936 w 1501935"/>
                  <a:gd name="connsiteY1" fmla="*/ 1141105 h 2580556"/>
                  <a:gd name="connsiteX2" fmla="*/ 1501886 w 1501935"/>
                  <a:gd name="connsiteY2" fmla="*/ 362619 h 2580556"/>
                  <a:gd name="connsiteX3" fmla="*/ 1139316 w 1501935"/>
                  <a:gd name="connsiteY3" fmla="*/ 50 h 2580556"/>
                  <a:gd name="connsiteX4" fmla="*/ 362659 w 1501935"/>
                  <a:gd name="connsiteY4" fmla="*/ 0 h 2580556"/>
                  <a:gd name="connsiteX5" fmla="*/ 0 w 1501935"/>
                  <a:gd name="connsiteY5" fmla="*/ 362570 h 2580556"/>
                  <a:gd name="connsiteX6" fmla="*/ 0 w 1501935"/>
                  <a:gd name="connsiteY6" fmla="*/ 1140954 h 2580556"/>
                  <a:gd name="connsiteX7" fmla="*/ 229559 w 1501935"/>
                  <a:gd name="connsiteY7" fmla="*/ 1478577 h 2580556"/>
                  <a:gd name="connsiteX8" fmla="*/ 229559 w 1501935"/>
                  <a:gd name="connsiteY8" fmla="*/ 2221808 h 2580556"/>
                  <a:gd name="connsiteX9" fmla="*/ 588752 w 1501935"/>
                  <a:gd name="connsiteY9" fmla="*/ 2580556 h 2580556"/>
                  <a:gd name="connsiteX10" fmla="*/ 913274 w 1501935"/>
                  <a:gd name="connsiteY10" fmla="*/ 2580556 h 2580556"/>
                  <a:gd name="connsiteX11" fmla="*/ 1272466 w 1501935"/>
                  <a:gd name="connsiteY11" fmla="*/ 2221808 h 2580556"/>
                  <a:gd name="connsiteX12" fmla="*/ 1272466 w 1501935"/>
                  <a:gd name="connsiteY12" fmla="*/ 1478730 h 2580556"/>
                  <a:gd name="connsiteX13" fmla="*/ 1154895 w 1501935"/>
                  <a:gd name="connsiteY13" fmla="*/ 1289591 h 2580556"/>
                  <a:gd name="connsiteX14" fmla="*/ 1059133 w 1501935"/>
                  <a:gd name="connsiteY14" fmla="*/ 1395668 h 2580556"/>
                  <a:gd name="connsiteX15" fmla="*/ 1059133 w 1501935"/>
                  <a:gd name="connsiteY15" fmla="*/ 2221864 h 2580556"/>
                  <a:gd name="connsiteX16" fmla="*/ 913237 w 1501935"/>
                  <a:gd name="connsiteY16" fmla="*/ 2367316 h 2580556"/>
                  <a:gd name="connsiteX17" fmla="*/ 588716 w 1501935"/>
                  <a:gd name="connsiteY17" fmla="*/ 2367316 h 2580556"/>
                  <a:gd name="connsiteX18" fmla="*/ 442819 w 1501935"/>
                  <a:gd name="connsiteY18" fmla="*/ 2221864 h 2580556"/>
                  <a:gd name="connsiteX19" fmla="*/ 442819 w 1501935"/>
                  <a:gd name="connsiteY19" fmla="*/ 1395770 h 2580556"/>
                  <a:gd name="connsiteX20" fmla="*/ 347057 w 1501935"/>
                  <a:gd name="connsiteY20" fmla="*/ 1289693 h 2580556"/>
                  <a:gd name="connsiteX21" fmla="*/ 213260 w 1501935"/>
                  <a:gd name="connsiteY21" fmla="*/ 1141118 h 2580556"/>
                  <a:gd name="connsiteX22" fmla="*/ 213260 w 1501935"/>
                  <a:gd name="connsiteY22" fmla="*/ 362632 h 2580556"/>
                  <a:gd name="connsiteX23" fmla="*/ 362635 w 1501935"/>
                  <a:gd name="connsiteY23" fmla="*/ 213308 h 2580556"/>
                  <a:gd name="connsiteX24" fmla="*/ 1139343 w 1501935"/>
                  <a:gd name="connsiteY24" fmla="*/ 213308 h 2580556"/>
                  <a:gd name="connsiteX25" fmla="*/ 1288667 w 1501935"/>
                  <a:gd name="connsiteY25" fmla="*/ 362632 h 2580556"/>
                  <a:gd name="connsiteX26" fmla="*/ 1288667 w 1501935"/>
                  <a:gd name="connsiteY26" fmla="*/ 1141016 h 2580556"/>
                  <a:gd name="connsiteX27" fmla="*/ 1154921 w 1501935"/>
                  <a:gd name="connsiteY27" fmla="*/ 1289591 h 258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01935" h="2580556">
                    <a:moveTo>
                      <a:pt x="1272427" y="1478728"/>
                    </a:moveTo>
                    <a:cubicBezTo>
                      <a:pt x="1408154" y="1425566"/>
                      <a:pt x="1501936" y="1293895"/>
                      <a:pt x="1501936" y="1141105"/>
                    </a:cubicBezTo>
                    <a:lnTo>
                      <a:pt x="1501886" y="362619"/>
                    </a:lnTo>
                    <a:cubicBezTo>
                      <a:pt x="1501886" y="162716"/>
                      <a:pt x="1339232" y="50"/>
                      <a:pt x="1139316" y="50"/>
                    </a:cubicBezTo>
                    <a:lnTo>
                      <a:pt x="362659" y="0"/>
                    </a:lnTo>
                    <a:cubicBezTo>
                      <a:pt x="162654" y="0"/>
                      <a:pt x="0" y="162654"/>
                      <a:pt x="0" y="362570"/>
                    </a:cubicBezTo>
                    <a:lnTo>
                      <a:pt x="0" y="1140954"/>
                    </a:lnTo>
                    <a:cubicBezTo>
                      <a:pt x="0" y="1293744"/>
                      <a:pt x="93678" y="1425408"/>
                      <a:pt x="229559" y="1478577"/>
                    </a:cubicBezTo>
                    <a:lnTo>
                      <a:pt x="229559" y="2221808"/>
                    </a:lnTo>
                    <a:cubicBezTo>
                      <a:pt x="229559" y="2419578"/>
                      <a:pt x="390728" y="2580556"/>
                      <a:pt x="588752" y="2580556"/>
                    </a:cubicBezTo>
                    <a:lnTo>
                      <a:pt x="913274" y="2580556"/>
                    </a:lnTo>
                    <a:cubicBezTo>
                      <a:pt x="1111297" y="2580556"/>
                      <a:pt x="1272466" y="2419578"/>
                      <a:pt x="1272466" y="2221808"/>
                    </a:cubicBezTo>
                    <a:lnTo>
                      <a:pt x="1272466" y="1478730"/>
                    </a:lnTo>
                    <a:close/>
                    <a:moveTo>
                      <a:pt x="1154895" y="1289591"/>
                    </a:moveTo>
                    <a:cubicBezTo>
                      <a:pt x="1100493" y="1295145"/>
                      <a:pt x="1059133" y="1340969"/>
                      <a:pt x="1059133" y="1395668"/>
                    </a:cubicBezTo>
                    <a:lnTo>
                      <a:pt x="1059133" y="2221864"/>
                    </a:lnTo>
                    <a:cubicBezTo>
                      <a:pt x="1059133" y="2302053"/>
                      <a:pt x="993673" y="2367316"/>
                      <a:pt x="913237" y="2367316"/>
                    </a:cubicBezTo>
                    <a:lnTo>
                      <a:pt x="588716" y="2367316"/>
                    </a:lnTo>
                    <a:cubicBezTo>
                      <a:pt x="508328" y="2367316"/>
                      <a:pt x="442819" y="2302053"/>
                      <a:pt x="442819" y="2221864"/>
                    </a:cubicBezTo>
                    <a:lnTo>
                      <a:pt x="442819" y="1395770"/>
                    </a:lnTo>
                    <a:cubicBezTo>
                      <a:pt x="442819" y="1341021"/>
                      <a:pt x="401460" y="1295247"/>
                      <a:pt x="347057" y="1289693"/>
                    </a:cubicBezTo>
                    <a:cubicBezTo>
                      <a:pt x="270785" y="1281857"/>
                      <a:pt x="213260" y="1217934"/>
                      <a:pt x="213260" y="1141118"/>
                    </a:cubicBezTo>
                    <a:lnTo>
                      <a:pt x="213260" y="362632"/>
                    </a:lnTo>
                    <a:cubicBezTo>
                      <a:pt x="213260" y="280309"/>
                      <a:pt x="280208" y="213308"/>
                      <a:pt x="362635" y="213308"/>
                    </a:cubicBezTo>
                    <a:lnTo>
                      <a:pt x="1139343" y="213308"/>
                    </a:lnTo>
                    <a:cubicBezTo>
                      <a:pt x="1221666" y="213308"/>
                      <a:pt x="1288667" y="280207"/>
                      <a:pt x="1288667" y="362632"/>
                    </a:cubicBezTo>
                    <a:lnTo>
                      <a:pt x="1288667" y="1141016"/>
                    </a:lnTo>
                    <a:cubicBezTo>
                      <a:pt x="1288667" y="1217933"/>
                      <a:pt x="1231141" y="1281809"/>
                      <a:pt x="1154921" y="1289591"/>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65" name="Forma Livre: Forma 164">
                <a:extLst>
                  <a:ext uri="{FF2B5EF4-FFF2-40B4-BE49-F238E27FC236}">
                    <a16:creationId xmlns:a16="http://schemas.microsoft.com/office/drawing/2014/main" id="{8FAACB47-50EB-79DE-2581-670EA41DA1B2}"/>
                  </a:ext>
                </a:extLst>
              </p:cNvPr>
              <p:cNvSpPr/>
              <p:nvPr/>
            </p:nvSpPr>
            <p:spPr>
              <a:xfrm>
                <a:off x="-3647285" y="-815830"/>
                <a:ext cx="1071624" cy="1071624"/>
              </a:xfrm>
              <a:custGeom>
                <a:avLst/>
                <a:gdLst>
                  <a:gd name="connsiteX0" fmla="*/ 535838 w 1071624"/>
                  <a:gd name="connsiteY0" fmla="*/ 1071624 h 1071624"/>
                  <a:gd name="connsiteX1" fmla="*/ 1071624 w 1071624"/>
                  <a:gd name="connsiteY1" fmla="*/ 535837 h 1071624"/>
                  <a:gd name="connsiteX2" fmla="*/ 535838 w 1071624"/>
                  <a:gd name="connsiteY2" fmla="*/ 0 h 1071624"/>
                  <a:gd name="connsiteX3" fmla="*/ 0 w 1071624"/>
                  <a:gd name="connsiteY3" fmla="*/ 535837 h 1071624"/>
                  <a:gd name="connsiteX4" fmla="*/ 535838 w 1071624"/>
                  <a:gd name="connsiteY4" fmla="*/ 1071624 h 1071624"/>
                  <a:gd name="connsiteX5" fmla="*/ 535838 w 1071624"/>
                  <a:gd name="connsiteY5" fmla="*/ 213296 h 1071624"/>
                  <a:gd name="connsiteX6" fmla="*/ 858328 w 1071624"/>
                  <a:gd name="connsiteY6" fmla="*/ 535837 h 1071624"/>
                  <a:gd name="connsiteX7" fmla="*/ 535838 w 1071624"/>
                  <a:gd name="connsiteY7" fmla="*/ 858328 h 1071624"/>
                  <a:gd name="connsiteX8" fmla="*/ 213296 w 1071624"/>
                  <a:gd name="connsiteY8" fmla="*/ 535837 h 1071624"/>
                  <a:gd name="connsiteX9" fmla="*/ 535838 w 1071624"/>
                  <a:gd name="connsiteY9" fmla="*/ 213296 h 107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24" h="1071624">
                    <a:moveTo>
                      <a:pt x="535838" y="1071624"/>
                    </a:moveTo>
                    <a:cubicBezTo>
                      <a:pt x="831261" y="1071624"/>
                      <a:pt x="1071624" y="831248"/>
                      <a:pt x="1071624" y="535837"/>
                    </a:cubicBezTo>
                    <a:cubicBezTo>
                      <a:pt x="1071624" y="240376"/>
                      <a:pt x="831248" y="0"/>
                      <a:pt x="535838" y="0"/>
                    </a:cubicBezTo>
                    <a:cubicBezTo>
                      <a:pt x="240376" y="0"/>
                      <a:pt x="0" y="240376"/>
                      <a:pt x="0" y="535837"/>
                    </a:cubicBezTo>
                    <a:cubicBezTo>
                      <a:pt x="0" y="831299"/>
                      <a:pt x="240376" y="1071624"/>
                      <a:pt x="535838" y="1071624"/>
                    </a:cubicBezTo>
                    <a:close/>
                    <a:moveTo>
                      <a:pt x="535838" y="213296"/>
                    </a:moveTo>
                    <a:cubicBezTo>
                      <a:pt x="713625" y="213296"/>
                      <a:pt x="858328" y="357961"/>
                      <a:pt x="858328" y="535837"/>
                    </a:cubicBezTo>
                    <a:cubicBezTo>
                      <a:pt x="858328" y="713625"/>
                      <a:pt x="713663" y="858328"/>
                      <a:pt x="535838" y="858328"/>
                    </a:cubicBezTo>
                    <a:cubicBezTo>
                      <a:pt x="357949" y="858328"/>
                      <a:pt x="213296" y="713663"/>
                      <a:pt x="213296" y="535837"/>
                    </a:cubicBezTo>
                    <a:cubicBezTo>
                      <a:pt x="213296" y="357949"/>
                      <a:pt x="358050" y="213296"/>
                      <a:pt x="535838" y="213296"/>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66" name="Forma Livre: Forma 165">
                <a:extLst>
                  <a:ext uri="{FF2B5EF4-FFF2-40B4-BE49-F238E27FC236}">
                    <a16:creationId xmlns:a16="http://schemas.microsoft.com/office/drawing/2014/main" id="{B4D3A9E6-B08B-9B26-1B24-B94D9F14A440}"/>
                  </a:ext>
                </a:extLst>
              </p:cNvPr>
              <p:cNvSpPr/>
              <p:nvPr/>
            </p:nvSpPr>
            <p:spPr>
              <a:xfrm>
                <a:off x="-3862321" y="364252"/>
                <a:ext cx="1501835" cy="2580556"/>
              </a:xfrm>
              <a:custGeom>
                <a:avLst/>
                <a:gdLst>
                  <a:gd name="connsiteX0" fmla="*/ 1272276 w 1501835"/>
                  <a:gd name="connsiteY0" fmla="*/ 1478728 h 2580556"/>
                  <a:gd name="connsiteX1" fmla="*/ 1501835 w 1501835"/>
                  <a:gd name="connsiteY1" fmla="*/ 1141105 h 2580556"/>
                  <a:gd name="connsiteX2" fmla="*/ 1501835 w 1501835"/>
                  <a:gd name="connsiteY2" fmla="*/ 362619 h 2580556"/>
                  <a:gd name="connsiteX3" fmla="*/ 1139177 w 1501835"/>
                  <a:gd name="connsiteY3" fmla="*/ 50 h 2580556"/>
                  <a:gd name="connsiteX4" fmla="*/ 362570 w 1501835"/>
                  <a:gd name="connsiteY4" fmla="*/ 0 h 2580556"/>
                  <a:gd name="connsiteX5" fmla="*/ 0 w 1501835"/>
                  <a:gd name="connsiteY5" fmla="*/ 362570 h 2580556"/>
                  <a:gd name="connsiteX6" fmla="*/ 0 w 1501835"/>
                  <a:gd name="connsiteY6" fmla="*/ 1140954 h 2580556"/>
                  <a:gd name="connsiteX7" fmla="*/ 229509 w 1501835"/>
                  <a:gd name="connsiteY7" fmla="*/ 1478577 h 2580556"/>
                  <a:gd name="connsiteX8" fmla="*/ 229509 w 1501835"/>
                  <a:gd name="connsiteY8" fmla="*/ 2221808 h 2580556"/>
                  <a:gd name="connsiteX9" fmla="*/ 588701 w 1501835"/>
                  <a:gd name="connsiteY9" fmla="*/ 2580556 h 2580556"/>
                  <a:gd name="connsiteX10" fmla="*/ 913223 w 1501835"/>
                  <a:gd name="connsiteY10" fmla="*/ 2580556 h 2580556"/>
                  <a:gd name="connsiteX11" fmla="*/ 1272415 w 1501835"/>
                  <a:gd name="connsiteY11" fmla="*/ 2221808 h 2580556"/>
                  <a:gd name="connsiteX12" fmla="*/ 1272366 w 1501835"/>
                  <a:gd name="connsiteY12" fmla="*/ 1478730 h 2580556"/>
                  <a:gd name="connsiteX13" fmla="*/ 1154793 w 1501835"/>
                  <a:gd name="connsiteY13" fmla="*/ 1289591 h 2580556"/>
                  <a:gd name="connsiteX14" fmla="*/ 1059031 w 1501835"/>
                  <a:gd name="connsiteY14" fmla="*/ 1395668 h 2580556"/>
                  <a:gd name="connsiteX15" fmla="*/ 1059031 w 1501835"/>
                  <a:gd name="connsiteY15" fmla="*/ 2221864 h 2580556"/>
                  <a:gd name="connsiteX16" fmla="*/ 913135 w 1501835"/>
                  <a:gd name="connsiteY16" fmla="*/ 2367316 h 2580556"/>
                  <a:gd name="connsiteX17" fmla="*/ 588614 w 1501835"/>
                  <a:gd name="connsiteY17" fmla="*/ 2367316 h 2580556"/>
                  <a:gd name="connsiteX18" fmla="*/ 442718 w 1501835"/>
                  <a:gd name="connsiteY18" fmla="*/ 2221864 h 2580556"/>
                  <a:gd name="connsiteX19" fmla="*/ 442718 w 1501835"/>
                  <a:gd name="connsiteY19" fmla="*/ 1395770 h 2580556"/>
                  <a:gd name="connsiteX20" fmla="*/ 346956 w 1501835"/>
                  <a:gd name="connsiteY20" fmla="*/ 1289693 h 2580556"/>
                  <a:gd name="connsiteX21" fmla="*/ 213209 w 1501835"/>
                  <a:gd name="connsiteY21" fmla="*/ 1141118 h 2580556"/>
                  <a:gd name="connsiteX22" fmla="*/ 213209 w 1501835"/>
                  <a:gd name="connsiteY22" fmla="*/ 362632 h 2580556"/>
                  <a:gd name="connsiteX23" fmla="*/ 362533 w 1501835"/>
                  <a:gd name="connsiteY23" fmla="*/ 213308 h 2580556"/>
                  <a:gd name="connsiteX24" fmla="*/ 1139241 w 1501835"/>
                  <a:gd name="connsiteY24" fmla="*/ 213308 h 2580556"/>
                  <a:gd name="connsiteX25" fmla="*/ 1288616 w 1501835"/>
                  <a:gd name="connsiteY25" fmla="*/ 362632 h 2580556"/>
                  <a:gd name="connsiteX26" fmla="*/ 1288616 w 1501835"/>
                  <a:gd name="connsiteY26" fmla="*/ 1141016 h 2580556"/>
                  <a:gd name="connsiteX27" fmla="*/ 1154819 w 1501835"/>
                  <a:gd name="connsiteY27" fmla="*/ 1289591 h 258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01835" h="2580556">
                    <a:moveTo>
                      <a:pt x="1272276" y="1478728"/>
                    </a:moveTo>
                    <a:cubicBezTo>
                      <a:pt x="1408054" y="1425566"/>
                      <a:pt x="1501835" y="1293895"/>
                      <a:pt x="1501835" y="1141105"/>
                    </a:cubicBezTo>
                    <a:lnTo>
                      <a:pt x="1501835" y="362619"/>
                    </a:lnTo>
                    <a:cubicBezTo>
                      <a:pt x="1501835" y="162716"/>
                      <a:pt x="1339181" y="50"/>
                      <a:pt x="1139177" y="50"/>
                    </a:cubicBezTo>
                    <a:lnTo>
                      <a:pt x="362570" y="0"/>
                    </a:lnTo>
                    <a:cubicBezTo>
                      <a:pt x="162667" y="0"/>
                      <a:pt x="0" y="162654"/>
                      <a:pt x="0" y="362570"/>
                    </a:cubicBezTo>
                    <a:lnTo>
                      <a:pt x="0" y="1140954"/>
                    </a:lnTo>
                    <a:cubicBezTo>
                      <a:pt x="0" y="1293744"/>
                      <a:pt x="93678" y="1425408"/>
                      <a:pt x="229509" y="1478577"/>
                    </a:cubicBezTo>
                    <a:lnTo>
                      <a:pt x="229509" y="2221808"/>
                    </a:lnTo>
                    <a:cubicBezTo>
                      <a:pt x="229509" y="2419578"/>
                      <a:pt x="390677" y="2580556"/>
                      <a:pt x="588701" y="2580556"/>
                    </a:cubicBezTo>
                    <a:lnTo>
                      <a:pt x="913223" y="2580556"/>
                    </a:lnTo>
                    <a:cubicBezTo>
                      <a:pt x="1111246" y="2580556"/>
                      <a:pt x="1272415" y="2419578"/>
                      <a:pt x="1272415" y="2221808"/>
                    </a:cubicBezTo>
                    <a:lnTo>
                      <a:pt x="1272366" y="1478730"/>
                    </a:lnTo>
                    <a:close/>
                    <a:moveTo>
                      <a:pt x="1154793" y="1289591"/>
                    </a:moveTo>
                    <a:cubicBezTo>
                      <a:pt x="1100391" y="1295145"/>
                      <a:pt x="1059031" y="1340969"/>
                      <a:pt x="1059031" y="1395668"/>
                    </a:cubicBezTo>
                    <a:lnTo>
                      <a:pt x="1059031" y="2221864"/>
                    </a:lnTo>
                    <a:cubicBezTo>
                      <a:pt x="1059031" y="2302053"/>
                      <a:pt x="993571" y="2367316"/>
                      <a:pt x="913135" y="2367316"/>
                    </a:cubicBezTo>
                    <a:lnTo>
                      <a:pt x="588614" y="2367316"/>
                    </a:lnTo>
                    <a:cubicBezTo>
                      <a:pt x="508226" y="2367316"/>
                      <a:pt x="442718" y="2302053"/>
                      <a:pt x="442718" y="2221864"/>
                    </a:cubicBezTo>
                    <a:lnTo>
                      <a:pt x="442718" y="1395770"/>
                    </a:lnTo>
                    <a:cubicBezTo>
                      <a:pt x="442718" y="1341021"/>
                      <a:pt x="401358" y="1295247"/>
                      <a:pt x="346956" y="1289693"/>
                    </a:cubicBezTo>
                    <a:cubicBezTo>
                      <a:pt x="270733" y="1281857"/>
                      <a:pt x="213209" y="1217934"/>
                      <a:pt x="213209" y="1141118"/>
                    </a:cubicBezTo>
                    <a:lnTo>
                      <a:pt x="213209" y="362632"/>
                    </a:lnTo>
                    <a:cubicBezTo>
                      <a:pt x="213209" y="280309"/>
                      <a:pt x="280108" y="213308"/>
                      <a:pt x="362533" y="213308"/>
                    </a:cubicBezTo>
                    <a:lnTo>
                      <a:pt x="1139241" y="213308"/>
                    </a:lnTo>
                    <a:cubicBezTo>
                      <a:pt x="1221564" y="213308"/>
                      <a:pt x="1288616" y="280207"/>
                      <a:pt x="1288616" y="362632"/>
                    </a:cubicBezTo>
                    <a:lnTo>
                      <a:pt x="1288616" y="1141016"/>
                    </a:lnTo>
                    <a:cubicBezTo>
                      <a:pt x="1288616" y="1217933"/>
                      <a:pt x="1231090" y="1281809"/>
                      <a:pt x="1154819" y="1289591"/>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67" name="Forma Livre: Forma 166">
                <a:extLst>
                  <a:ext uri="{FF2B5EF4-FFF2-40B4-BE49-F238E27FC236}">
                    <a16:creationId xmlns:a16="http://schemas.microsoft.com/office/drawing/2014/main" id="{DF793E67-7681-2CF5-EA1C-FF45B8398C24}"/>
                  </a:ext>
                </a:extLst>
              </p:cNvPr>
              <p:cNvSpPr/>
              <p:nvPr/>
            </p:nvSpPr>
            <p:spPr>
              <a:xfrm>
                <a:off x="-6911670" y="-815830"/>
                <a:ext cx="1071674" cy="1071624"/>
              </a:xfrm>
              <a:custGeom>
                <a:avLst/>
                <a:gdLst>
                  <a:gd name="connsiteX0" fmla="*/ 535837 w 1071674"/>
                  <a:gd name="connsiteY0" fmla="*/ 1071624 h 1071624"/>
                  <a:gd name="connsiteX1" fmla="*/ 1071675 w 1071674"/>
                  <a:gd name="connsiteY1" fmla="*/ 535837 h 1071624"/>
                  <a:gd name="connsiteX2" fmla="*/ 535837 w 1071674"/>
                  <a:gd name="connsiteY2" fmla="*/ 0 h 1071624"/>
                  <a:gd name="connsiteX3" fmla="*/ 0 w 1071674"/>
                  <a:gd name="connsiteY3" fmla="*/ 535837 h 1071624"/>
                  <a:gd name="connsiteX4" fmla="*/ 535837 w 1071674"/>
                  <a:gd name="connsiteY4" fmla="*/ 1071624 h 1071624"/>
                  <a:gd name="connsiteX5" fmla="*/ 535837 w 1071674"/>
                  <a:gd name="connsiteY5" fmla="*/ 213296 h 1071624"/>
                  <a:gd name="connsiteX6" fmla="*/ 858378 w 1071674"/>
                  <a:gd name="connsiteY6" fmla="*/ 535837 h 1071624"/>
                  <a:gd name="connsiteX7" fmla="*/ 535837 w 1071674"/>
                  <a:gd name="connsiteY7" fmla="*/ 858328 h 1071624"/>
                  <a:gd name="connsiteX8" fmla="*/ 213297 w 1071674"/>
                  <a:gd name="connsiteY8" fmla="*/ 535837 h 1071624"/>
                  <a:gd name="connsiteX9" fmla="*/ 535837 w 1071674"/>
                  <a:gd name="connsiteY9" fmla="*/ 213296 h 107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74" h="1071624">
                    <a:moveTo>
                      <a:pt x="535837" y="1071624"/>
                    </a:moveTo>
                    <a:cubicBezTo>
                      <a:pt x="831299" y="1071624"/>
                      <a:pt x="1071675" y="831248"/>
                      <a:pt x="1071675" y="535837"/>
                    </a:cubicBezTo>
                    <a:cubicBezTo>
                      <a:pt x="1071675" y="240376"/>
                      <a:pt x="831299" y="0"/>
                      <a:pt x="535837" y="0"/>
                    </a:cubicBezTo>
                    <a:cubicBezTo>
                      <a:pt x="240376" y="0"/>
                      <a:pt x="0" y="240376"/>
                      <a:pt x="0" y="535837"/>
                    </a:cubicBezTo>
                    <a:cubicBezTo>
                      <a:pt x="-50" y="831299"/>
                      <a:pt x="240325" y="1071624"/>
                      <a:pt x="535837" y="1071624"/>
                    </a:cubicBezTo>
                    <a:close/>
                    <a:moveTo>
                      <a:pt x="535837" y="213296"/>
                    </a:moveTo>
                    <a:cubicBezTo>
                      <a:pt x="713726" y="213296"/>
                      <a:pt x="858378" y="357961"/>
                      <a:pt x="858378" y="535837"/>
                    </a:cubicBezTo>
                    <a:cubicBezTo>
                      <a:pt x="858378" y="713625"/>
                      <a:pt x="713714" y="858328"/>
                      <a:pt x="535837" y="858328"/>
                    </a:cubicBezTo>
                    <a:cubicBezTo>
                      <a:pt x="357949" y="858328"/>
                      <a:pt x="213297" y="713663"/>
                      <a:pt x="213297" y="535837"/>
                    </a:cubicBezTo>
                    <a:cubicBezTo>
                      <a:pt x="213197" y="357949"/>
                      <a:pt x="357961" y="213296"/>
                      <a:pt x="535837" y="213296"/>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68" name="Forma Livre: Forma 167">
                <a:extLst>
                  <a:ext uri="{FF2B5EF4-FFF2-40B4-BE49-F238E27FC236}">
                    <a16:creationId xmlns:a16="http://schemas.microsoft.com/office/drawing/2014/main" id="{140F2F07-FF1C-1930-12EC-00A38C96810B}"/>
                  </a:ext>
                </a:extLst>
              </p:cNvPr>
              <p:cNvSpPr/>
              <p:nvPr/>
            </p:nvSpPr>
            <p:spPr>
              <a:xfrm>
                <a:off x="-7126767" y="364252"/>
                <a:ext cx="1501999" cy="2580707"/>
              </a:xfrm>
              <a:custGeom>
                <a:avLst/>
                <a:gdLst>
                  <a:gd name="connsiteX0" fmla="*/ 229532 w 1501999"/>
                  <a:gd name="connsiteY0" fmla="*/ 1478728 h 2580707"/>
                  <a:gd name="connsiteX1" fmla="*/ 229532 w 1501999"/>
                  <a:gd name="connsiteY1" fmla="*/ 2221959 h 2580707"/>
                  <a:gd name="connsiteX2" fmla="*/ 588724 w 1501999"/>
                  <a:gd name="connsiteY2" fmla="*/ 2580707 h 2580707"/>
                  <a:gd name="connsiteX3" fmla="*/ 913347 w 1501999"/>
                  <a:gd name="connsiteY3" fmla="*/ 2580707 h 2580707"/>
                  <a:gd name="connsiteX4" fmla="*/ 1272540 w 1501999"/>
                  <a:gd name="connsiteY4" fmla="*/ 2221959 h 2580707"/>
                  <a:gd name="connsiteX5" fmla="*/ 1272491 w 1501999"/>
                  <a:gd name="connsiteY5" fmla="*/ 1478728 h 2580707"/>
                  <a:gd name="connsiteX6" fmla="*/ 1501999 w 1501999"/>
                  <a:gd name="connsiteY6" fmla="*/ 1141105 h 2580707"/>
                  <a:gd name="connsiteX7" fmla="*/ 1501950 w 1501999"/>
                  <a:gd name="connsiteY7" fmla="*/ 362619 h 2580707"/>
                  <a:gd name="connsiteX8" fmla="*/ 1139380 w 1501999"/>
                  <a:gd name="connsiteY8" fmla="*/ 50 h 2580707"/>
                  <a:gd name="connsiteX9" fmla="*/ 362570 w 1501999"/>
                  <a:gd name="connsiteY9" fmla="*/ 0 h 2580707"/>
                  <a:gd name="connsiteX10" fmla="*/ 0 w 1501999"/>
                  <a:gd name="connsiteY10" fmla="*/ 362570 h 2580707"/>
                  <a:gd name="connsiteX11" fmla="*/ 0 w 1501999"/>
                  <a:gd name="connsiteY11" fmla="*/ 1140954 h 2580707"/>
                  <a:gd name="connsiteX12" fmla="*/ 229509 w 1501999"/>
                  <a:gd name="connsiteY12" fmla="*/ 1478717 h 2580707"/>
                  <a:gd name="connsiteX13" fmla="*/ 213316 w 1501999"/>
                  <a:gd name="connsiteY13" fmla="*/ 362619 h 2580707"/>
                  <a:gd name="connsiteX14" fmla="*/ 362640 w 1501999"/>
                  <a:gd name="connsiteY14" fmla="*/ 213295 h 2580707"/>
                  <a:gd name="connsiteX15" fmla="*/ 1139450 w 1501999"/>
                  <a:gd name="connsiteY15" fmla="*/ 213295 h 2580707"/>
                  <a:gd name="connsiteX16" fmla="*/ 1288774 w 1501999"/>
                  <a:gd name="connsiteY16" fmla="*/ 362619 h 2580707"/>
                  <a:gd name="connsiteX17" fmla="*/ 1288774 w 1501999"/>
                  <a:gd name="connsiteY17" fmla="*/ 1141004 h 2580707"/>
                  <a:gd name="connsiteX18" fmla="*/ 1155027 w 1501999"/>
                  <a:gd name="connsiteY18" fmla="*/ 1289579 h 2580707"/>
                  <a:gd name="connsiteX19" fmla="*/ 1059265 w 1501999"/>
                  <a:gd name="connsiteY19" fmla="*/ 1395656 h 2580707"/>
                  <a:gd name="connsiteX20" fmla="*/ 1059265 w 1501999"/>
                  <a:gd name="connsiteY20" fmla="*/ 2221851 h 2580707"/>
                  <a:gd name="connsiteX21" fmla="*/ 913369 w 1501999"/>
                  <a:gd name="connsiteY21" fmla="*/ 2367303 h 2580707"/>
                  <a:gd name="connsiteX22" fmla="*/ 588746 w 1501999"/>
                  <a:gd name="connsiteY22" fmla="*/ 2367303 h 2580707"/>
                  <a:gd name="connsiteX23" fmla="*/ 442850 w 1501999"/>
                  <a:gd name="connsiteY23" fmla="*/ 2221851 h 2580707"/>
                  <a:gd name="connsiteX24" fmla="*/ 442800 w 1501999"/>
                  <a:gd name="connsiteY24" fmla="*/ 1395757 h 2580707"/>
                  <a:gd name="connsiteX25" fmla="*/ 347038 w 1501999"/>
                  <a:gd name="connsiteY25" fmla="*/ 1289680 h 2580707"/>
                  <a:gd name="connsiteX26" fmla="*/ 213342 w 1501999"/>
                  <a:gd name="connsiteY26" fmla="*/ 1141105 h 2580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01999" h="2580707">
                    <a:moveTo>
                      <a:pt x="229532" y="1478728"/>
                    </a:moveTo>
                    <a:lnTo>
                      <a:pt x="229532" y="2221959"/>
                    </a:lnTo>
                    <a:cubicBezTo>
                      <a:pt x="229532" y="2419729"/>
                      <a:pt x="390700" y="2580707"/>
                      <a:pt x="588724" y="2580707"/>
                    </a:cubicBezTo>
                    <a:lnTo>
                      <a:pt x="913347" y="2580707"/>
                    </a:lnTo>
                    <a:cubicBezTo>
                      <a:pt x="1111371" y="2580707"/>
                      <a:pt x="1272540" y="2419729"/>
                      <a:pt x="1272540" y="2221959"/>
                    </a:cubicBezTo>
                    <a:lnTo>
                      <a:pt x="1272491" y="1478728"/>
                    </a:lnTo>
                    <a:cubicBezTo>
                      <a:pt x="1408218" y="1425566"/>
                      <a:pt x="1501999" y="1293895"/>
                      <a:pt x="1501999" y="1141105"/>
                    </a:cubicBezTo>
                    <a:lnTo>
                      <a:pt x="1501950" y="362619"/>
                    </a:lnTo>
                    <a:cubicBezTo>
                      <a:pt x="1501950" y="162716"/>
                      <a:pt x="1339295" y="50"/>
                      <a:pt x="1139380" y="50"/>
                    </a:cubicBezTo>
                    <a:lnTo>
                      <a:pt x="362570" y="0"/>
                    </a:lnTo>
                    <a:cubicBezTo>
                      <a:pt x="162667" y="0"/>
                      <a:pt x="0" y="162654"/>
                      <a:pt x="0" y="362570"/>
                    </a:cubicBezTo>
                    <a:lnTo>
                      <a:pt x="0" y="1140954"/>
                    </a:lnTo>
                    <a:cubicBezTo>
                      <a:pt x="0" y="1293846"/>
                      <a:pt x="93679" y="1425510"/>
                      <a:pt x="229509" y="1478717"/>
                    </a:cubicBezTo>
                    <a:close/>
                    <a:moveTo>
                      <a:pt x="213316" y="362619"/>
                    </a:moveTo>
                    <a:cubicBezTo>
                      <a:pt x="213316" y="280297"/>
                      <a:pt x="280214" y="213295"/>
                      <a:pt x="362640" y="213295"/>
                    </a:cubicBezTo>
                    <a:lnTo>
                      <a:pt x="1139450" y="213295"/>
                    </a:lnTo>
                    <a:cubicBezTo>
                      <a:pt x="1221772" y="213295"/>
                      <a:pt x="1288774" y="280194"/>
                      <a:pt x="1288774" y="362619"/>
                    </a:cubicBezTo>
                    <a:lnTo>
                      <a:pt x="1288774" y="1141004"/>
                    </a:lnTo>
                    <a:cubicBezTo>
                      <a:pt x="1288774" y="1217871"/>
                      <a:pt x="1231248" y="1281695"/>
                      <a:pt x="1155027" y="1289579"/>
                    </a:cubicBezTo>
                    <a:cubicBezTo>
                      <a:pt x="1100625" y="1295133"/>
                      <a:pt x="1059265" y="1340956"/>
                      <a:pt x="1059265" y="1395656"/>
                    </a:cubicBezTo>
                    <a:lnTo>
                      <a:pt x="1059265" y="2221851"/>
                    </a:lnTo>
                    <a:cubicBezTo>
                      <a:pt x="1059265" y="2302041"/>
                      <a:pt x="993805" y="2367303"/>
                      <a:pt x="913369" y="2367303"/>
                    </a:cubicBezTo>
                    <a:lnTo>
                      <a:pt x="588746" y="2367303"/>
                    </a:lnTo>
                    <a:cubicBezTo>
                      <a:pt x="508358" y="2367303"/>
                      <a:pt x="442850" y="2302041"/>
                      <a:pt x="442850" y="2221851"/>
                    </a:cubicBezTo>
                    <a:lnTo>
                      <a:pt x="442800" y="1395757"/>
                    </a:lnTo>
                    <a:cubicBezTo>
                      <a:pt x="442800" y="1341008"/>
                      <a:pt x="401441" y="1295235"/>
                      <a:pt x="347038" y="1289680"/>
                    </a:cubicBezTo>
                    <a:cubicBezTo>
                      <a:pt x="270865" y="1281795"/>
                      <a:pt x="213342" y="1217922"/>
                      <a:pt x="213342" y="1141105"/>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69" name="Forma Livre: Forma 168">
                <a:extLst>
                  <a:ext uri="{FF2B5EF4-FFF2-40B4-BE49-F238E27FC236}">
                    <a16:creationId xmlns:a16="http://schemas.microsoft.com/office/drawing/2014/main" id="{747FDB11-1A7A-A88B-586A-5D2E63C194DB}"/>
                  </a:ext>
                </a:extLst>
              </p:cNvPr>
              <p:cNvSpPr/>
              <p:nvPr/>
            </p:nvSpPr>
            <p:spPr>
              <a:xfrm>
                <a:off x="-4463392" y="-1522498"/>
                <a:ext cx="1071573" cy="642408"/>
              </a:xfrm>
              <a:custGeom>
                <a:avLst/>
                <a:gdLst>
                  <a:gd name="connsiteX0" fmla="*/ 5 w 1071573"/>
                  <a:gd name="connsiteY0" fmla="*/ 535787 h 642408"/>
                  <a:gd name="connsiteX1" fmla="*/ 106626 w 1071573"/>
                  <a:gd name="connsiteY1" fmla="*/ 642408 h 642408"/>
                  <a:gd name="connsiteX2" fmla="*/ 213248 w 1071573"/>
                  <a:gd name="connsiteY2" fmla="*/ 535787 h 642408"/>
                  <a:gd name="connsiteX3" fmla="*/ 535789 w 1071573"/>
                  <a:gd name="connsiteY3" fmla="*/ 213296 h 642408"/>
                  <a:gd name="connsiteX4" fmla="*/ 858330 w 1071573"/>
                  <a:gd name="connsiteY4" fmla="*/ 535787 h 642408"/>
                  <a:gd name="connsiteX5" fmla="*/ 964952 w 1071573"/>
                  <a:gd name="connsiteY5" fmla="*/ 642408 h 642408"/>
                  <a:gd name="connsiteX6" fmla="*/ 1071573 w 1071573"/>
                  <a:gd name="connsiteY6" fmla="*/ 535787 h 642408"/>
                  <a:gd name="connsiteX7" fmla="*/ 535736 w 1071573"/>
                  <a:gd name="connsiteY7" fmla="*/ 0 h 642408"/>
                  <a:gd name="connsiteX8" fmla="*/ 0 w 1071573"/>
                  <a:gd name="connsiteY8" fmla="*/ 535787 h 64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573" h="642408">
                    <a:moveTo>
                      <a:pt x="5" y="535787"/>
                    </a:moveTo>
                    <a:cubicBezTo>
                      <a:pt x="5" y="594652"/>
                      <a:pt x="47761" y="642408"/>
                      <a:pt x="106626" y="642408"/>
                    </a:cubicBezTo>
                    <a:cubicBezTo>
                      <a:pt x="165492" y="642408"/>
                      <a:pt x="213248" y="594652"/>
                      <a:pt x="213248" y="535787"/>
                    </a:cubicBezTo>
                    <a:cubicBezTo>
                      <a:pt x="213248" y="357999"/>
                      <a:pt x="357913" y="213296"/>
                      <a:pt x="535789" y="213296"/>
                    </a:cubicBezTo>
                    <a:cubicBezTo>
                      <a:pt x="713678" y="213296"/>
                      <a:pt x="858330" y="357961"/>
                      <a:pt x="858330" y="535787"/>
                    </a:cubicBezTo>
                    <a:cubicBezTo>
                      <a:pt x="858330" y="594652"/>
                      <a:pt x="906086" y="642408"/>
                      <a:pt x="964952" y="642408"/>
                    </a:cubicBezTo>
                    <a:cubicBezTo>
                      <a:pt x="1023817" y="642408"/>
                      <a:pt x="1071573" y="594652"/>
                      <a:pt x="1071573" y="535787"/>
                    </a:cubicBezTo>
                    <a:cubicBezTo>
                      <a:pt x="1071573" y="240363"/>
                      <a:pt x="831197" y="0"/>
                      <a:pt x="535736" y="0"/>
                    </a:cubicBezTo>
                    <a:cubicBezTo>
                      <a:pt x="240363" y="0"/>
                      <a:pt x="0" y="240376"/>
                      <a:pt x="0" y="535787"/>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70" name="Forma Livre: Forma 169">
                <a:extLst>
                  <a:ext uri="{FF2B5EF4-FFF2-40B4-BE49-F238E27FC236}">
                    <a16:creationId xmlns:a16="http://schemas.microsoft.com/office/drawing/2014/main" id="{E9FBCFC5-5D1E-315A-9046-71206C4B2B57}"/>
                  </a:ext>
                </a:extLst>
              </p:cNvPr>
              <p:cNvSpPr/>
              <p:nvPr/>
            </p:nvSpPr>
            <p:spPr>
              <a:xfrm>
                <a:off x="-2015067" y="-815919"/>
                <a:ext cx="1071674" cy="1071623"/>
              </a:xfrm>
              <a:custGeom>
                <a:avLst/>
                <a:gdLst>
                  <a:gd name="connsiteX0" fmla="*/ 0 w 1071674"/>
                  <a:gd name="connsiteY0" fmla="*/ 535838 h 1071623"/>
                  <a:gd name="connsiteX1" fmla="*/ 535837 w 1071674"/>
                  <a:gd name="connsiteY1" fmla="*/ 1071624 h 1071623"/>
                  <a:gd name="connsiteX2" fmla="*/ 1071675 w 1071674"/>
                  <a:gd name="connsiteY2" fmla="*/ 535838 h 1071623"/>
                  <a:gd name="connsiteX3" fmla="*/ 535837 w 1071674"/>
                  <a:gd name="connsiteY3" fmla="*/ 0 h 1071623"/>
                  <a:gd name="connsiteX4" fmla="*/ 0 w 1071674"/>
                  <a:gd name="connsiteY4" fmla="*/ 535838 h 1071623"/>
                  <a:gd name="connsiteX5" fmla="*/ 535888 w 1071674"/>
                  <a:gd name="connsiteY5" fmla="*/ 213296 h 1071623"/>
                  <a:gd name="connsiteX6" fmla="*/ 858429 w 1071674"/>
                  <a:gd name="connsiteY6" fmla="*/ 535838 h 1071623"/>
                  <a:gd name="connsiteX7" fmla="*/ 535888 w 1071674"/>
                  <a:gd name="connsiteY7" fmla="*/ 858328 h 1071623"/>
                  <a:gd name="connsiteX8" fmla="*/ 213296 w 1071674"/>
                  <a:gd name="connsiteY8" fmla="*/ 535838 h 1071623"/>
                  <a:gd name="connsiteX9" fmla="*/ 535888 w 1071674"/>
                  <a:gd name="connsiteY9" fmla="*/ 213296 h 107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74" h="1071623">
                    <a:moveTo>
                      <a:pt x="0" y="535838"/>
                    </a:moveTo>
                    <a:cubicBezTo>
                      <a:pt x="0" y="831261"/>
                      <a:pt x="240375" y="1071624"/>
                      <a:pt x="535837" y="1071624"/>
                    </a:cubicBezTo>
                    <a:cubicBezTo>
                      <a:pt x="831299" y="1071624"/>
                      <a:pt x="1071675" y="831248"/>
                      <a:pt x="1071675" y="535838"/>
                    </a:cubicBezTo>
                    <a:cubicBezTo>
                      <a:pt x="1071675" y="240376"/>
                      <a:pt x="831299" y="0"/>
                      <a:pt x="535837" y="0"/>
                    </a:cubicBezTo>
                    <a:cubicBezTo>
                      <a:pt x="240375" y="0"/>
                      <a:pt x="0" y="240376"/>
                      <a:pt x="0" y="535838"/>
                    </a:cubicBezTo>
                    <a:close/>
                    <a:moveTo>
                      <a:pt x="535888" y="213296"/>
                    </a:moveTo>
                    <a:cubicBezTo>
                      <a:pt x="713777" y="213296"/>
                      <a:pt x="858429" y="357961"/>
                      <a:pt x="858429" y="535838"/>
                    </a:cubicBezTo>
                    <a:cubicBezTo>
                      <a:pt x="858429" y="713625"/>
                      <a:pt x="713764" y="858328"/>
                      <a:pt x="535888" y="858328"/>
                    </a:cubicBezTo>
                    <a:cubicBezTo>
                      <a:pt x="357999" y="858328"/>
                      <a:pt x="213296" y="713625"/>
                      <a:pt x="213296" y="535838"/>
                    </a:cubicBezTo>
                    <a:cubicBezTo>
                      <a:pt x="213296" y="357949"/>
                      <a:pt x="357999" y="213296"/>
                      <a:pt x="535888" y="213296"/>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71" name="Forma Livre: Forma 170">
                <a:extLst>
                  <a:ext uri="{FF2B5EF4-FFF2-40B4-BE49-F238E27FC236}">
                    <a16:creationId xmlns:a16="http://schemas.microsoft.com/office/drawing/2014/main" id="{D8A06F98-A5E8-C679-B64E-BDF9916CB5E2}"/>
                  </a:ext>
                </a:extLst>
              </p:cNvPr>
              <p:cNvSpPr/>
              <p:nvPr/>
            </p:nvSpPr>
            <p:spPr>
              <a:xfrm>
                <a:off x="-2230116" y="364339"/>
                <a:ext cx="1501926" cy="2580556"/>
              </a:xfrm>
              <a:custGeom>
                <a:avLst/>
                <a:gdLst>
                  <a:gd name="connsiteX0" fmla="*/ 1139279 w 1501926"/>
                  <a:gd name="connsiteY0" fmla="*/ 0 h 2580556"/>
                  <a:gd name="connsiteX1" fmla="*/ 362570 w 1501926"/>
                  <a:gd name="connsiteY1" fmla="*/ 0 h 2580556"/>
                  <a:gd name="connsiteX2" fmla="*/ 0 w 1501926"/>
                  <a:gd name="connsiteY2" fmla="*/ 362570 h 2580556"/>
                  <a:gd name="connsiteX3" fmla="*/ 0 w 1501926"/>
                  <a:gd name="connsiteY3" fmla="*/ 1140954 h 2580556"/>
                  <a:gd name="connsiteX4" fmla="*/ 229509 w 1501926"/>
                  <a:gd name="connsiteY4" fmla="*/ 1478577 h 2580556"/>
                  <a:gd name="connsiteX5" fmla="*/ 229509 w 1501926"/>
                  <a:gd name="connsiteY5" fmla="*/ 2221808 h 2580556"/>
                  <a:gd name="connsiteX6" fmla="*/ 588702 w 1501926"/>
                  <a:gd name="connsiteY6" fmla="*/ 2580556 h 2580556"/>
                  <a:gd name="connsiteX7" fmla="*/ 913325 w 1501926"/>
                  <a:gd name="connsiteY7" fmla="*/ 2580556 h 2580556"/>
                  <a:gd name="connsiteX8" fmla="*/ 1272517 w 1501926"/>
                  <a:gd name="connsiteY8" fmla="*/ 2221808 h 2580556"/>
                  <a:gd name="connsiteX9" fmla="*/ 1272418 w 1501926"/>
                  <a:gd name="connsiteY9" fmla="*/ 1478628 h 2580556"/>
                  <a:gd name="connsiteX10" fmla="*/ 1501927 w 1501926"/>
                  <a:gd name="connsiteY10" fmla="*/ 1141005 h 2580556"/>
                  <a:gd name="connsiteX11" fmla="*/ 1501877 w 1501926"/>
                  <a:gd name="connsiteY11" fmla="*/ 362519 h 2580556"/>
                  <a:gd name="connsiteX12" fmla="*/ 1139269 w 1501926"/>
                  <a:gd name="connsiteY12" fmla="*/ 0 h 2580556"/>
                  <a:gd name="connsiteX13" fmla="*/ 1288552 w 1501926"/>
                  <a:gd name="connsiteY13" fmla="*/ 1141005 h 2580556"/>
                  <a:gd name="connsiteX14" fmla="*/ 1154805 w 1501926"/>
                  <a:gd name="connsiteY14" fmla="*/ 1289580 h 2580556"/>
                  <a:gd name="connsiteX15" fmla="*/ 1059043 w 1501926"/>
                  <a:gd name="connsiteY15" fmla="*/ 1395657 h 2580556"/>
                  <a:gd name="connsiteX16" fmla="*/ 1059043 w 1501926"/>
                  <a:gd name="connsiteY16" fmla="*/ 2221852 h 2580556"/>
                  <a:gd name="connsiteX17" fmla="*/ 913147 w 1501926"/>
                  <a:gd name="connsiteY17" fmla="*/ 2367304 h 2580556"/>
                  <a:gd name="connsiteX18" fmla="*/ 588524 w 1501926"/>
                  <a:gd name="connsiteY18" fmla="*/ 2367304 h 2580556"/>
                  <a:gd name="connsiteX19" fmla="*/ 442627 w 1501926"/>
                  <a:gd name="connsiteY19" fmla="*/ 2221852 h 2580556"/>
                  <a:gd name="connsiteX20" fmla="*/ 442677 w 1501926"/>
                  <a:gd name="connsiteY20" fmla="*/ 1395657 h 2580556"/>
                  <a:gd name="connsiteX21" fmla="*/ 346915 w 1501926"/>
                  <a:gd name="connsiteY21" fmla="*/ 1289580 h 2580556"/>
                  <a:gd name="connsiteX22" fmla="*/ 213169 w 1501926"/>
                  <a:gd name="connsiteY22" fmla="*/ 1141005 h 2580556"/>
                  <a:gd name="connsiteX23" fmla="*/ 213218 w 1501926"/>
                  <a:gd name="connsiteY23" fmla="*/ 362519 h 2580556"/>
                  <a:gd name="connsiteX24" fmla="*/ 362542 w 1501926"/>
                  <a:gd name="connsiteY24" fmla="*/ 213195 h 2580556"/>
                  <a:gd name="connsiteX25" fmla="*/ 1139302 w 1501926"/>
                  <a:gd name="connsiteY25" fmla="*/ 213195 h 2580556"/>
                  <a:gd name="connsiteX26" fmla="*/ 1288625 w 1501926"/>
                  <a:gd name="connsiteY26" fmla="*/ 362519 h 258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01926" h="2580556">
                    <a:moveTo>
                      <a:pt x="1139279" y="0"/>
                    </a:moveTo>
                    <a:lnTo>
                      <a:pt x="362570" y="0"/>
                    </a:lnTo>
                    <a:cubicBezTo>
                      <a:pt x="162667" y="0"/>
                      <a:pt x="0" y="162654"/>
                      <a:pt x="0" y="362570"/>
                    </a:cubicBezTo>
                    <a:lnTo>
                      <a:pt x="0" y="1140954"/>
                    </a:lnTo>
                    <a:cubicBezTo>
                      <a:pt x="0" y="1293744"/>
                      <a:pt x="93679" y="1425409"/>
                      <a:pt x="229509" y="1478577"/>
                    </a:cubicBezTo>
                    <a:lnTo>
                      <a:pt x="229509" y="2221808"/>
                    </a:lnTo>
                    <a:cubicBezTo>
                      <a:pt x="229509" y="2419578"/>
                      <a:pt x="390678" y="2580556"/>
                      <a:pt x="588702" y="2580556"/>
                    </a:cubicBezTo>
                    <a:lnTo>
                      <a:pt x="913325" y="2580556"/>
                    </a:lnTo>
                    <a:cubicBezTo>
                      <a:pt x="1111348" y="2580556"/>
                      <a:pt x="1272517" y="2419578"/>
                      <a:pt x="1272517" y="2221808"/>
                    </a:cubicBezTo>
                    <a:lnTo>
                      <a:pt x="1272418" y="1478628"/>
                    </a:lnTo>
                    <a:cubicBezTo>
                      <a:pt x="1408145" y="1425466"/>
                      <a:pt x="1501927" y="1293795"/>
                      <a:pt x="1501927" y="1141005"/>
                    </a:cubicBezTo>
                    <a:lnTo>
                      <a:pt x="1501877" y="362519"/>
                    </a:lnTo>
                    <a:cubicBezTo>
                      <a:pt x="1501828" y="162667"/>
                      <a:pt x="1339172" y="0"/>
                      <a:pt x="1139269" y="0"/>
                    </a:cubicBezTo>
                    <a:close/>
                    <a:moveTo>
                      <a:pt x="1288552" y="1141005"/>
                    </a:moveTo>
                    <a:cubicBezTo>
                      <a:pt x="1288552" y="1217872"/>
                      <a:pt x="1231026" y="1281696"/>
                      <a:pt x="1154805" y="1289580"/>
                    </a:cubicBezTo>
                    <a:cubicBezTo>
                      <a:pt x="1100403" y="1295134"/>
                      <a:pt x="1059043" y="1340957"/>
                      <a:pt x="1059043" y="1395657"/>
                    </a:cubicBezTo>
                    <a:lnTo>
                      <a:pt x="1059043" y="2221852"/>
                    </a:lnTo>
                    <a:cubicBezTo>
                      <a:pt x="1059043" y="2302042"/>
                      <a:pt x="993583" y="2367304"/>
                      <a:pt x="913147" y="2367304"/>
                    </a:cubicBezTo>
                    <a:lnTo>
                      <a:pt x="588524" y="2367304"/>
                    </a:lnTo>
                    <a:cubicBezTo>
                      <a:pt x="508136" y="2367304"/>
                      <a:pt x="442627" y="2302042"/>
                      <a:pt x="442627" y="2221852"/>
                    </a:cubicBezTo>
                    <a:lnTo>
                      <a:pt x="442677" y="1395657"/>
                    </a:lnTo>
                    <a:cubicBezTo>
                      <a:pt x="442677" y="1340908"/>
                      <a:pt x="401318" y="1295134"/>
                      <a:pt x="346915" y="1289580"/>
                    </a:cubicBezTo>
                    <a:cubicBezTo>
                      <a:pt x="270693" y="1281744"/>
                      <a:pt x="213169" y="1217821"/>
                      <a:pt x="213169" y="1141005"/>
                    </a:cubicBezTo>
                    <a:lnTo>
                      <a:pt x="213218" y="362519"/>
                    </a:lnTo>
                    <a:cubicBezTo>
                      <a:pt x="213218" y="280196"/>
                      <a:pt x="280117" y="213195"/>
                      <a:pt x="362542" y="213195"/>
                    </a:cubicBezTo>
                    <a:lnTo>
                      <a:pt x="1139302" y="213195"/>
                    </a:lnTo>
                    <a:cubicBezTo>
                      <a:pt x="1221624" y="213195"/>
                      <a:pt x="1288625" y="280094"/>
                      <a:pt x="1288625" y="362519"/>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72" name="Forma Livre: Forma 171">
                <a:extLst>
                  <a:ext uri="{FF2B5EF4-FFF2-40B4-BE49-F238E27FC236}">
                    <a16:creationId xmlns:a16="http://schemas.microsoft.com/office/drawing/2014/main" id="{819F62EE-E2A5-4F55-DE08-BC2A5B83F2F6}"/>
                  </a:ext>
                </a:extLst>
              </p:cNvPr>
              <p:cNvSpPr/>
              <p:nvPr/>
            </p:nvSpPr>
            <p:spPr>
              <a:xfrm>
                <a:off x="-2831137" y="-1522498"/>
                <a:ext cx="1071522" cy="642408"/>
              </a:xfrm>
              <a:custGeom>
                <a:avLst/>
                <a:gdLst>
                  <a:gd name="connsiteX0" fmla="*/ 5 w 1071522"/>
                  <a:gd name="connsiteY0" fmla="*/ 535787 h 642408"/>
                  <a:gd name="connsiteX1" fmla="*/ 106627 w 1071522"/>
                  <a:gd name="connsiteY1" fmla="*/ 642408 h 642408"/>
                  <a:gd name="connsiteX2" fmla="*/ 213248 w 1071522"/>
                  <a:gd name="connsiteY2" fmla="*/ 535787 h 642408"/>
                  <a:gd name="connsiteX3" fmla="*/ 535739 w 1071522"/>
                  <a:gd name="connsiteY3" fmla="*/ 213296 h 642408"/>
                  <a:gd name="connsiteX4" fmla="*/ 858280 w 1071522"/>
                  <a:gd name="connsiteY4" fmla="*/ 535787 h 642408"/>
                  <a:gd name="connsiteX5" fmla="*/ 964901 w 1071522"/>
                  <a:gd name="connsiteY5" fmla="*/ 642408 h 642408"/>
                  <a:gd name="connsiteX6" fmla="*/ 1071523 w 1071522"/>
                  <a:gd name="connsiteY6" fmla="*/ 535787 h 642408"/>
                  <a:gd name="connsiteX7" fmla="*/ 535685 w 1071522"/>
                  <a:gd name="connsiteY7" fmla="*/ 0 h 642408"/>
                  <a:gd name="connsiteX8" fmla="*/ 0 w 1071522"/>
                  <a:gd name="connsiteY8" fmla="*/ 535787 h 64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522" h="642408">
                    <a:moveTo>
                      <a:pt x="5" y="535787"/>
                    </a:moveTo>
                    <a:cubicBezTo>
                      <a:pt x="5" y="594652"/>
                      <a:pt x="47762" y="642408"/>
                      <a:pt x="106627" y="642408"/>
                    </a:cubicBezTo>
                    <a:cubicBezTo>
                      <a:pt x="165492" y="642408"/>
                      <a:pt x="213248" y="594652"/>
                      <a:pt x="213248" y="535787"/>
                    </a:cubicBezTo>
                    <a:cubicBezTo>
                      <a:pt x="213248" y="357999"/>
                      <a:pt x="357913" y="213296"/>
                      <a:pt x="535739" y="213296"/>
                    </a:cubicBezTo>
                    <a:cubicBezTo>
                      <a:pt x="713627" y="213296"/>
                      <a:pt x="858280" y="357961"/>
                      <a:pt x="858280" y="535787"/>
                    </a:cubicBezTo>
                    <a:cubicBezTo>
                      <a:pt x="858280" y="594652"/>
                      <a:pt x="906036" y="642408"/>
                      <a:pt x="964901" y="642408"/>
                    </a:cubicBezTo>
                    <a:cubicBezTo>
                      <a:pt x="1023766" y="642408"/>
                      <a:pt x="1071523" y="594652"/>
                      <a:pt x="1071523" y="535787"/>
                    </a:cubicBezTo>
                    <a:cubicBezTo>
                      <a:pt x="1071523" y="240363"/>
                      <a:pt x="831147" y="0"/>
                      <a:pt x="535685" y="0"/>
                    </a:cubicBezTo>
                    <a:cubicBezTo>
                      <a:pt x="240363" y="0"/>
                      <a:pt x="0" y="240376"/>
                      <a:pt x="0" y="535787"/>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73" name="Forma Livre: Forma 172">
                <a:extLst>
                  <a:ext uri="{FF2B5EF4-FFF2-40B4-BE49-F238E27FC236}">
                    <a16:creationId xmlns:a16="http://schemas.microsoft.com/office/drawing/2014/main" id="{F912ACC5-4B05-9753-4E53-3DBDE4CA2E46}"/>
                  </a:ext>
                </a:extLst>
              </p:cNvPr>
              <p:cNvSpPr/>
              <p:nvPr/>
            </p:nvSpPr>
            <p:spPr>
              <a:xfrm>
                <a:off x="-5279538" y="-2229615"/>
                <a:ext cx="1071624" cy="642408"/>
              </a:xfrm>
              <a:custGeom>
                <a:avLst/>
                <a:gdLst>
                  <a:gd name="connsiteX0" fmla="*/ 106728 w 1071624"/>
                  <a:gd name="connsiteY0" fmla="*/ 642408 h 642408"/>
                  <a:gd name="connsiteX1" fmla="*/ 213350 w 1071624"/>
                  <a:gd name="connsiteY1" fmla="*/ 535787 h 642408"/>
                  <a:gd name="connsiteX2" fmla="*/ 535840 w 1071624"/>
                  <a:gd name="connsiteY2" fmla="*/ 213296 h 642408"/>
                  <a:gd name="connsiteX3" fmla="*/ 858381 w 1071624"/>
                  <a:gd name="connsiteY3" fmla="*/ 535787 h 642408"/>
                  <a:gd name="connsiteX4" fmla="*/ 965003 w 1071624"/>
                  <a:gd name="connsiteY4" fmla="*/ 642408 h 642408"/>
                  <a:gd name="connsiteX5" fmla="*/ 1071624 w 1071624"/>
                  <a:gd name="connsiteY5" fmla="*/ 535787 h 642408"/>
                  <a:gd name="connsiteX6" fmla="*/ 535787 w 1071624"/>
                  <a:gd name="connsiteY6" fmla="*/ 0 h 642408"/>
                  <a:gd name="connsiteX7" fmla="*/ 0 w 1071624"/>
                  <a:gd name="connsiteY7" fmla="*/ 535787 h 642408"/>
                  <a:gd name="connsiteX8" fmla="*/ 106720 w 1071624"/>
                  <a:gd name="connsiteY8" fmla="*/ 642408 h 64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624" h="642408">
                    <a:moveTo>
                      <a:pt x="106728" y="642408"/>
                    </a:moveTo>
                    <a:cubicBezTo>
                      <a:pt x="165593" y="642408"/>
                      <a:pt x="213350" y="594652"/>
                      <a:pt x="213350" y="535787"/>
                    </a:cubicBezTo>
                    <a:cubicBezTo>
                      <a:pt x="213350" y="357999"/>
                      <a:pt x="358015" y="213296"/>
                      <a:pt x="535840" y="213296"/>
                    </a:cubicBezTo>
                    <a:cubicBezTo>
                      <a:pt x="713729" y="213296"/>
                      <a:pt x="858381" y="357961"/>
                      <a:pt x="858381" y="535787"/>
                    </a:cubicBezTo>
                    <a:cubicBezTo>
                      <a:pt x="858381" y="594652"/>
                      <a:pt x="906138" y="642408"/>
                      <a:pt x="965003" y="642408"/>
                    </a:cubicBezTo>
                    <a:cubicBezTo>
                      <a:pt x="1023867" y="642408"/>
                      <a:pt x="1071624" y="594652"/>
                      <a:pt x="1071624" y="535787"/>
                    </a:cubicBezTo>
                    <a:cubicBezTo>
                      <a:pt x="1071624" y="240363"/>
                      <a:pt x="831248" y="0"/>
                      <a:pt x="535787" y="0"/>
                    </a:cubicBezTo>
                    <a:cubicBezTo>
                      <a:pt x="240363" y="0"/>
                      <a:pt x="0" y="240376"/>
                      <a:pt x="0" y="535787"/>
                    </a:cubicBezTo>
                    <a:cubicBezTo>
                      <a:pt x="99" y="594602"/>
                      <a:pt x="47856" y="642408"/>
                      <a:pt x="106720" y="642408"/>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174" name="Forma Livre: Forma 173">
                <a:extLst>
                  <a:ext uri="{FF2B5EF4-FFF2-40B4-BE49-F238E27FC236}">
                    <a16:creationId xmlns:a16="http://schemas.microsoft.com/office/drawing/2014/main" id="{BD32980B-F633-F243-1DF4-1126728D2DD7}"/>
                  </a:ext>
                </a:extLst>
              </p:cNvPr>
              <p:cNvSpPr/>
              <p:nvPr/>
            </p:nvSpPr>
            <p:spPr>
              <a:xfrm>
                <a:off x="-3647282" y="-2229615"/>
                <a:ext cx="1071623" cy="642408"/>
              </a:xfrm>
              <a:custGeom>
                <a:avLst/>
                <a:gdLst>
                  <a:gd name="connsiteX0" fmla="*/ 106728 w 1071623"/>
                  <a:gd name="connsiteY0" fmla="*/ 642408 h 642408"/>
                  <a:gd name="connsiteX1" fmla="*/ 213350 w 1071623"/>
                  <a:gd name="connsiteY1" fmla="*/ 535787 h 642408"/>
                  <a:gd name="connsiteX2" fmla="*/ 535891 w 1071623"/>
                  <a:gd name="connsiteY2" fmla="*/ 213296 h 642408"/>
                  <a:gd name="connsiteX3" fmla="*/ 858381 w 1071623"/>
                  <a:gd name="connsiteY3" fmla="*/ 535787 h 642408"/>
                  <a:gd name="connsiteX4" fmla="*/ 965003 w 1071623"/>
                  <a:gd name="connsiteY4" fmla="*/ 642408 h 642408"/>
                  <a:gd name="connsiteX5" fmla="*/ 1071624 w 1071623"/>
                  <a:gd name="connsiteY5" fmla="*/ 535787 h 642408"/>
                  <a:gd name="connsiteX6" fmla="*/ 535838 w 1071623"/>
                  <a:gd name="connsiteY6" fmla="*/ 0 h 642408"/>
                  <a:gd name="connsiteX7" fmla="*/ 0 w 1071623"/>
                  <a:gd name="connsiteY7" fmla="*/ 535787 h 642408"/>
                  <a:gd name="connsiteX8" fmla="*/ 106720 w 1071623"/>
                  <a:gd name="connsiteY8" fmla="*/ 642408 h 64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623" h="642408">
                    <a:moveTo>
                      <a:pt x="106728" y="642408"/>
                    </a:moveTo>
                    <a:cubicBezTo>
                      <a:pt x="165593" y="642408"/>
                      <a:pt x="213350" y="594652"/>
                      <a:pt x="213350" y="535787"/>
                    </a:cubicBezTo>
                    <a:cubicBezTo>
                      <a:pt x="213350" y="357999"/>
                      <a:pt x="358015" y="213296"/>
                      <a:pt x="535891" y="213296"/>
                    </a:cubicBezTo>
                    <a:cubicBezTo>
                      <a:pt x="713678" y="213296"/>
                      <a:pt x="858381" y="357961"/>
                      <a:pt x="858381" y="535787"/>
                    </a:cubicBezTo>
                    <a:cubicBezTo>
                      <a:pt x="858381" y="594652"/>
                      <a:pt x="906137" y="642408"/>
                      <a:pt x="965003" y="642408"/>
                    </a:cubicBezTo>
                    <a:cubicBezTo>
                      <a:pt x="1023867" y="642408"/>
                      <a:pt x="1071624" y="594652"/>
                      <a:pt x="1071624" y="535787"/>
                    </a:cubicBezTo>
                    <a:cubicBezTo>
                      <a:pt x="1071624" y="240363"/>
                      <a:pt x="831248" y="0"/>
                      <a:pt x="535838" y="0"/>
                    </a:cubicBezTo>
                    <a:cubicBezTo>
                      <a:pt x="240376" y="0"/>
                      <a:pt x="0" y="240376"/>
                      <a:pt x="0" y="535787"/>
                    </a:cubicBezTo>
                    <a:cubicBezTo>
                      <a:pt x="50" y="594602"/>
                      <a:pt x="47856" y="642408"/>
                      <a:pt x="106720" y="642408"/>
                    </a:cubicBezTo>
                    <a:close/>
                  </a:path>
                </a:pathLst>
              </a:custGeom>
              <a:grpFill/>
              <a:ln w="12695"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grpSp>
        <p:cxnSp>
          <p:nvCxnSpPr>
            <p:cNvPr id="177" name="Conector reto 176">
              <a:extLst>
                <a:ext uri="{FF2B5EF4-FFF2-40B4-BE49-F238E27FC236}">
                  <a16:creationId xmlns:a16="http://schemas.microsoft.com/office/drawing/2014/main" id="{FA8B5B42-DF5F-095F-6E26-087869C9EE2D}"/>
                </a:ext>
              </a:extLst>
            </p:cNvPr>
            <p:cNvCxnSpPr>
              <a:cxnSpLocks/>
            </p:cNvCxnSpPr>
            <p:nvPr/>
          </p:nvCxnSpPr>
          <p:spPr>
            <a:xfrm>
              <a:off x="8497465" y="1804795"/>
              <a:ext cx="562818" cy="0"/>
            </a:xfrm>
            <a:prstGeom prst="line">
              <a:avLst/>
            </a:prstGeom>
            <a:ln w="34925">
              <a:solidFill>
                <a:srgbClr val="FF5000"/>
              </a:solidFill>
            </a:ln>
          </p:spPr>
          <p:style>
            <a:lnRef idx="1">
              <a:schemeClr val="accent1"/>
            </a:lnRef>
            <a:fillRef idx="0">
              <a:schemeClr val="accent1"/>
            </a:fillRef>
            <a:effectRef idx="0">
              <a:schemeClr val="accent1"/>
            </a:effectRef>
            <a:fontRef idx="minor">
              <a:schemeClr val="tx1"/>
            </a:fontRef>
          </p:style>
        </p:cxnSp>
      </p:grpSp>
      <p:sp>
        <p:nvSpPr>
          <p:cNvPr id="4" name="TextBox 125">
            <a:extLst>
              <a:ext uri="{FF2B5EF4-FFF2-40B4-BE49-F238E27FC236}">
                <a16:creationId xmlns:a16="http://schemas.microsoft.com/office/drawing/2014/main" id="{267526F1-CF91-C8B5-C957-29413AF61103}"/>
              </a:ext>
            </a:extLst>
          </p:cNvPr>
          <p:cNvSpPr txBox="1">
            <a:spLocks noChangeArrowheads="1"/>
          </p:cNvSpPr>
          <p:nvPr/>
        </p:nvSpPr>
        <p:spPr bwMode="auto">
          <a:xfrm>
            <a:off x="8661668" y="1557338"/>
            <a:ext cx="4073510"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100" dirty="0" err="1">
                <a:solidFill>
                  <a:srgbClr val="FFFFFF"/>
                </a:solidFill>
                <a:latin typeface="Votorantim Sans Medium" panose="00000600000000000000" pitchFamily="2" charset="0"/>
              </a:rPr>
              <a:t>Somos</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más</a:t>
            </a:r>
            <a:r>
              <a:rPr lang="en-US" altLang="en-US" sz="2100" dirty="0">
                <a:solidFill>
                  <a:srgbClr val="FFFFFF"/>
                </a:solidFill>
                <a:latin typeface="Votorantim Sans Medium" panose="00000600000000000000" pitchFamily="2" charset="0"/>
              </a:rPr>
              <a:t> </a:t>
            </a:r>
            <a:r>
              <a:rPr lang="en-US" altLang="en-US" sz="2100">
                <a:solidFill>
                  <a:srgbClr val="FFFFFF"/>
                </a:solidFill>
                <a:latin typeface="Votorantim Sans Medium" panose="00000600000000000000" pitchFamily="2" charset="0"/>
              </a:rPr>
              <a:t>que 14,000 </a:t>
            </a:r>
            <a:r>
              <a:rPr lang="en-US" altLang="en-US" sz="2100" dirty="0">
                <a:solidFill>
                  <a:srgbClr val="FFFFFF"/>
                </a:solidFill>
                <a:latin typeface="Votorantim Sans Medium" panose="00000600000000000000" pitchFamily="2" charset="0"/>
              </a:rPr>
              <a:t>personas, entre </a:t>
            </a:r>
            <a:r>
              <a:rPr lang="en-US" altLang="en-US" sz="2100" dirty="0" err="1">
                <a:solidFill>
                  <a:srgbClr val="FFFFFF"/>
                </a:solidFill>
                <a:latin typeface="Votorantim Sans Medium" panose="00000600000000000000" pitchFamily="2" charset="0"/>
              </a:rPr>
              <a:t>colaboradores</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propios</a:t>
            </a:r>
            <a:r>
              <a:rPr lang="en-US" altLang="en-US" sz="2100" dirty="0">
                <a:solidFill>
                  <a:srgbClr val="FFFFFF"/>
                </a:solidFill>
                <a:latin typeface="Votorantim Sans Medium" panose="00000600000000000000" pitchFamily="2" charset="0"/>
              </a:rPr>
              <a:t> y </a:t>
            </a:r>
            <a:r>
              <a:rPr lang="en-US" altLang="en-US" sz="2100" dirty="0" err="1">
                <a:solidFill>
                  <a:srgbClr val="FFFFFF"/>
                </a:solidFill>
                <a:latin typeface="Votorantim Sans Medium" panose="00000600000000000000" pitchFamily="2" charset="0"/>
              </a:rPr>
              <a:t>terceros</a:t>
            </a:r>
            <a:r>
              <a:rPr lang="en-US" altLang="en-US" sz="2100" dirty="0">
                <a:solidFill>
                  <a:srgbClr val="FFFFFF"/>
                </a:solidFill>
                <a:latin typeface="Votorantim Sans Medium" panose="00000600000000000000" pitchFamily="2" charset="0"/>
              </a:rPr>
              <a:t>.</a:t>
            </a:r>
            <a:endParaRPr lang="pt-BR" altLang="en-US" sz="2100" dirty="0">
              <a:solidFill>
                <a:srgbClr val="FFFFFF"/>
              </a:solidFill>
              <a:latin typeface="Votorantim Sans Medium" panose="00000600000000000000" pitchFamily="2" charset="0"/>
            </a:endParaRPr>
          </a:p>
        </p:txBody>
      </p:sp>
      <p:sp>
        <p:nvSpPr>
          <p:cNvPr id="124" name="TextBox 123">
            <a:extLst>
              <a:ext uri="{FF2B5EF4-FFF2-40B4-BE49-F238E27FC236}">
                <a16:creationId xmlns:a16="http://schemas.microsoft.com/office/drawing/2014/main" id="{DF20FCDD-6F00-E6DD-4DF1-33E28AAC8BA4}"/>
              </a:ext>
            </a:extLst>
          </p:cNvPr>
          <p:cNvSpPr txBox="1">
            <a:spLocks noChangeArrowheads="1"/>
          </p:cNvSpPr>
          <p:nvPr/>
        </p:nvSpPr>
        <p:spPr bwMode="auto">
          <a:xfrm>
            <a:off x="1839913" y="3148013"/>
            <a:ext cx="3028649"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100" dirty="0" err="1">
                <a:solidFill>
                  <a:srgbClr val="FFFFFF"/>
                </a:solidFill>
                <a:latin typeface="Votorantim Sans Medium" panose="00000600000000000000" pitchFamily="2" charset="0"/>
              </a:rPr>
              <a:t>Nuestras</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operaciones</a:t>
            </a:r>
            <a:r>
              <a:rPr lang="en-US" altLang="en-US" sz="2100" dirty="0">
                <a:solidFill>
                  <a:srgbClr val="FFFFFF"/>
                </a:solidFill>
                <a:latin typeface="Votorantim Sans Medium" panose="00000600000000000000" pitchFamily="2" charset="0"/>
              </a:rPr>
              <a:t> </a:t>
            </a:r>
            <a:br>
              <a:rPr lang="en-US" altLang="en-US" sz="2100" dirty="0">
                <a:solidFill>
                  <a:srgbClr val="FFFFFF"/>
                </a:solidFill>
                <a:latin typeface="Votorantim Sans Medium" panose="00000600000000000000" pitchFamily="2" charset="0"/>
              </a:rPr>
            </a:br>
            <a:r>
              <a:rPr lang="en-US" altLang="en-US" sz="2100" dirty="0">
                <a:solidFill>
                  <a:srgbClr val="FFFFFF"/>
                </a:solidFill>
                <a:latin typeface="Votorantim Sans Medium" panose="00000600000000000000" pitchFamily="2" charset="0"/>
              </a:rPr>
              <a:t>se </a:t>
            </a:r>
            <a:r>
              <a:rPr lang="en-US" altLang="en-US" sz="2100" dirty="0" err="1">
                <a:solidFill>
                  <a:srgbClr val="FFFFFF"/>
                </a:solidFill>
                <a:latin typeface="Votorantim Sans Medium" panose="00000600000000000000" pitchFamily="2" charset="0"/>
              </a:rPr>
              <a:t>encuentran</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en</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Brasil</a:t>
            </a:r>
            <a:r>
              <a:rPr lang="en-US" altLang="en-US" sz="2100" dirty="0">
                <a:solidFill>
                  <a:srgbClr val="FFFFFF"/>
                </a:solidFill>
                <a:latin typeface="Votorantim Sans Medium" panose="00000600000000000000" pitchFamily="2" charset="0"/>
              </a:rPr>
              <a:t> y Perú.</a:t>
            </a:r>
          </a:p>
        </p:txBody>
      </p:sp>
      <p:sp>
        <p:nvSpPr>
          <p:cNvPr id="125" name="TextBox 124">
            <a:extLst>
              <a:ext uri="{FF2B5EF4-FFF2-40B4-BE49-F238E27FC236}">
                <a16:creationId xmlns:a16="http://schemas.microsoft.com/office/drawing/2014/main" id="{6C6B8C2A-5EB1-B80B-7DEA-9E768967EF1B}"/>
              </a:ext>
            </a:extLst>
          </p:cNvPr>
          <p:cNvSpPr txBox="1">
            <a:spLocks noChangeArrowheads="1"/>
          </p:cNvSpPr>
          <p:nvPr/>
        </p:nvSpPr>
        <p:spPr bwMode="auto">
          <a:xfrm>
            <a:off x="1839913" y="5389563"/>
            <a:ext cx="3164573"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100" dirty="0" err="1">
                <a:solidFill>
                  <a:srgbClr val="FFFFFF"/>
                </a:solidFill>
                <a:latin typeface="Votorantim Sans Medium" panose="00000600000000000000" pitchFamily="2" charset="0"/>
              </a:rPr>
              <a:t>Producimos</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también</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cobre</a:t>
            </a:r>
            <a:r>
              <a:rPr lang="en-US" altLang="en-US" sz="2100" dirty="0">
                <a:solidFill>
                  <a:srgbClr val="FFFFFF"/>
                </a:solidFill>
                <a:latin typeface="Votorantim Sans Medium" panose="00000600000000000000" pitchFamily="2" charset="0"/>
              </a:rPr>
              <a:t>, </a:t>
            </a:r>
            <a:r>
              <a:rPr lang="en-US" altLang="en-US" sz="2100" dirty="0" err="1">
                <a:solidFill>
                  <a:srgbClr val="FFFFFF"/>
                </a:solidFill>
                <a:latin typeface="Votorantim Sans Medium" panose="00000600000000000000" pitchFamily="2" charset="0"/>
              </a:rPr>
              <a:t>plomo</a:t>
            </a:r>
            <a:r>
              <a:rPr lang="en-US" altLang="en-US" sz="2100" dirty="0">
                <a:solidFill>
                  <a:srgbClr val="FFFFFF"/>
                </a:solidFill>
                <a:latin typeface="Votorantim Sans Medium" panose="00000600000000000000" pitchFamily="2" charset="0"/>
              </a:rPr>
              <a:t>, </a:t>
            </a:r>
            <a:br>
              <a:rPr lang="en-US" altLang="en-US" sz="2100" dirty="0">
                <a:solidFill>
                  <a:srgbClr val="FFFFFF"/>
                </a:solidFill>
                <a:latin typeface="Votorantim Sans Medium" panose="00000600000000000000" pitchFamily="2" charset="0"/>
              </a:rPr>
            </a:br>
            <a:r>
              <a:rPr lang="en-US" altLang="en-US" sz="2100" dirty="0" err="1">
                <a:solidFill>
                  <a:srgbClr val="FFFFFF"/>
                </a:solidFill>
                <a:latin typeface="Votorantim Sans Medium" panose="00000600000000000000" pitchFamily="2" charset="0"/>
              </a:rPr>
              <a:t>plata</a:t>
            </a:r>
            <a:r>
              <a:rPr lang="en-US" altLang="en-US" sz="2100" dirty="0">
                <a:solidFill>
                  <a:srgbClr val="FFFFFF"/>
                </a:solidFill>
                <a:latin typeface="Votorantim Sans Medium" panose="00000600000000000000" pitchFamily="2" charset="0"/>
              </a:rPr>
              <a:t> y </a:t>
            </a:r>
            <a:r>
              <a:rPr lang="en-US" altLang="en-US" sz="2100" dirty="0" err="1">
                <a:solidFill>
                  <a:srgbClr val="FFFFFF"/>
                </a:solidFill>
                <a:latin typeface="Votorantim Sans Medium" panose="00000600000000000000" pitchFamily="2" charset="0"/>
              </a:rPr>
              <a:t>oro</a:t>
            </a:r>
            <a:r>
              <a:rPr lang="en-US" altLang="en-US" sz="2100" dirty="0">
                <a:solidFill>
                  <a:srgbClr val="FFFFFF"/>
                </a:solidFill>
                <a:latin typeface="Votorantim Sans Medium" panose="00000600000000000000" pitchFamily="2" charset="0"/>
              </a:rPr>
              <a:t>.</a:t>
            </a:r>
            <a:endParaRPr lang="pt-BR" altLang="en-US" sz="2100" dirty="0">
              <a:solidFill>
                <a:srgbClr val="FFFFFF"/>
              </a:solidFill>
              <a:latin typeface="Votorantim Sans Medium" panose="00000600000000000000" pitchFamily="2" charset="0"/>
            </a:endParaRP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22" presetClass="entr" presetSubtype="8"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1000"/>
                                        <p:tgtEl>
                                          <p:spTgt spid="7"/>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25"/>
                                        </p:tgtEl>
                                        <p:attrNameLst>
                                          <p:attrName>style.visibility</p:attrName>
                                        </p:attrNameLst>
                                      </p:cBhvr>
                                      <p:to>
                                        <p:strVal val="visible"/>
                                      </p:to>
                                    </p:set>
                                    <p:animEffect transition="in" filter="fade">
                                      <p:cBhvr>
                                        <p:cTn id="13" dur="750"/>
                                        <p:tgtEl>
                                          <p:spTgt spid="125"/>
                                        </p:tgtEl>
                                      </p:cBhvr>
                                    </p:animEffect>
                                  </p:childTnLst>
                                </p:cTn>
                              </p:par>
                              <p:par>
                                <p:cTn id="14" presetID="10" presetClass="entr" presetSubtype="0" fill="hold" nodeType="withEffect">
                                  <p:stCondLst>
                                    <p:cond delay="75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750"/>
                                        <p:tgtEl>
                                          <p:spTgt spid="14"/>
                                        </p:tgtEl>
                                      </p:cBhvr>
                                    </p:animEffect>
                                  </p:childTnLst>
                                </p:cTn>
                              </p:par>
                              <p:par>
                                <p:cTn id="17" presetID="35" presetClass="path" presetSubtype="0" accel="50000" decel="50000" fill="hold" nodeType="withEffect">
                                  <p:stCondLst>
                                    <p:cond delay="750"/>
                                  </p:stCondLst>
                                  <p:childTnLst>
                                    <p:animMotion origin="layout" path="M -0.02197 -3.50482E-6 L -4.35805E-6 -3.50482E-6 " pathEditMode="relative" rAng="0" ptsTypes="AA">
                                      <p:cBhvr>
                                        <p:cTn id="18" dur="750" fill="hold"/>
                                        <p:tgtEl>
                                          <p:spTgt spid="14"/>
                                        </p:tgtEl>
                                        <p:attrNameLst>
                                          <p:attrName>ppt_x</p:attrName>
                                          <p:attrName>ppt_y</p:attrName>
                                        </p:attrNameLst>
                                      </p:cBhvr>
                                      <p:rCtr x="1094" y="0"/>
                                    </p:animMotion>
                                  </p:childTnLst>
                                </p:cTn>
                              </p:par>
                              <p:par>
                                <p:cTn id="19" presetID="10" presetClass="entr" presetSubtype="0" fill="hold" grpId="0" nodeType="withEffect">
                                  <p:stCondLst>
                                    <p:cond delay="1250"/>
                                  </p:stCondLst>
                                  <p:childTnLst>
                                    <p:set>
                                      <p:cBhvr>
                                        <p:cTn id="20" dur="1" fill="hold">
                                          <p:stCondLst>
                                            <p:cond delay="0"/>
                                          </p:stCondLst>
                                        </p:cTn>
                                        <p:tgtEl>
                                          <p:spTgt spid="124"/>
                                        </p:tgtEl>
                                        <p:attrNameLst>
                                          <p:attrName>style.visibility</p:attrName>
                                        </p:attrNameLst>
                                      </p:cBhvr>
                                      <p:to>
                                        <p:strVal val="visible"/>
                                      </p:to>
                                    </p:set>
                                    <p:animEffect transition="in" filter="fade">
                                      <p:cBhvr>
                                        <p:cTn id="21" dur="750"/>
                                        <p:tgtEl>
                                          <p:spTgt spid="124"/>
                                        </p:tgtEl>
                                      </p:cBhvr>
                                    </p:animEffect>
                                  </p:childTnLst>
                                </p:cTn>
                              </p:par>
                              <p:par>
                                <p:cTn id="22" presetID="10" presetClass="entr" presetSubtype="0" fill="hold" nodeType="withEffect">
                                  <p:stCondLst>
                                    <p:cond delay="1250"/>
                                  </p:stCondLst>
                                  <p:childTnLst>
                                    <p:set>
                                      <p:cBhvr>
                                        <p:cTn id="23" dur="1" fill="hold">
                                          <p:stCondLst>
                                            <p:cond delay="0"/>
                                          </p:stCondLst>
                                        </p:cTn>
                                        <p:tgtEl>
                                          <p:spTgt spid="66"/>
                                        </p:tgtEl>
                                        <p:attrNameLst>
                                          <p:attrName>style.visibility</p:attrName>
                                        </p:attrNameLst>
                                      </p:cBhvr>
                                      <p:to>
                                        <p:strVal val="visible"/>
                                      </p:to>
                                    </p:set>
                                    <p:animEffect transition="in" filter="fade">
                                      <p:cBhvr>
                                        <p:cTn id="24" dur="750"/>
                                        <p:tgtEl>
                                          <p:spTgt spid="66"/>
                                        </p:tgtEl>
                                      </p:cBhvr>
                                    </p:animEffect>
                                  </p:childTnLst>
                                </p:cTn>
                              </p:par>
                              <p:par>
                                <p:cTn id="25" presetID="35" presetClass="path" presetSubtype="0" accel="50000" decel="50000" fill="hold" nodeType="withEffect">
                                  <p:stCondLst>
                                    <p:cond delay="1250"/>
                                  </p:stCondLst>
                                  <p:childTnLst>
                                    <p:animMotion origin="layout" path="M -0.02197 -3.50482E-6 L -4.35805E-6 -3.50482E-6 " pathEditMode="relative" rAng="0" ptsTypes="AA">
                                      <p:cBhvr>
                                        <p:cTn id="26" dur="750" fill="hold"/>
                                        <p:tgtEl>
                                          <p:spTgt spid="66"/>
                                        </p:tgtEl>
                                        <p:attrNameLst>
                                          <p:attrName>ppt_x</p:attrName>
                                          <p:attrName>ppt_y</p:attrName>
                                        </p:attrNameLst>
                                      </p:cBhvr>
                                      <p:rCtr x="1094" y="0"/>
                                    </p:animMotion>
                                  </p:childTnLst>
                                </p:cTn>
                              </p:par>
                              <p:par>
                                <p:cTn id="27" presetID="10" presetClass="entr" presetSubtype="0" fill="hold" grpId="0" nodeType="withEffect">
                                  <p:stCondLst>
                                    <p:cond delay="1750"/>
                                  </p:stCondLst>
                                  <p:childTnLst>
                                    <p:set>
                                      <p:cBhvr>
                                        <p:cTn id="28" dur="1" fill="hold">
                                          <p:stCondLst>
                                            <p:cond delay="0"/>
                                          </p:stCondLst>
                                        </p:cTn>
                                        <p:tgtEl>
                                          <p:spTgt spid="126"/>
                                        </p:tgtEl>
                                        <p:attrNameLst>
                                          <p:attrName>style.visibility</p:attrName>
                                        </p:attrNameLst>
                                      </p:cBhvr>
                                      <p:to>
                                        <p:strVal val="visible"/>
                                      </p:to>
                                    </p:set>
                                    <p:animEffect transition="in" filter="fade">
                                      <p:cBhvr>
                                        <p:cTn id="29" dur="750"/>
                                        <p:tgtEl>
                                          <p:spTgt spid="126"/>
                                        </p:tgtEl>
                                      </p:cBhvr>
                                    </p:animEffect>
                                  </p:childTnLst>
                                </p:cTn>
                              </p:par>
                              <p:par>
                                <p:cTn id="30" presetID="10" presetClass="entr" presetSubtype="0" fill="hold" nodeType="withEffect">
                                  <p:stCondLst>
                                    <p:cond delay="175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750"/>
                                        <p:tgtEl>
                                          <p:spTgt spid="20"/>
                                        </p:tgtEl>
                                      </p:cBhvr>
                                    </p:animEffect>
                                  </p:childTnLst>
                                </p:cTn>
                              </p:par>
                              <p:par>
                                <p:cTn id="33" presetID="35" presetClass="path" presetSubtype="0" accel="50000" decel="50000" fill="hold" nodeType="withEffect">
                                  <p:stCondLst>
                                    <p:cond delay="1750"/>
                                  </p:stCondLst>
                                  <p:childTnLst>
                                    <p:animMotion origin="layout" path="M -0.02197 2.73312E-6 L -4.10488E-6 2.73312E-6 " pathEditMode="relative" rAng="0" ptsTypes="AA">
                                      <p:cBhvr>
                                        <p:cTn id="34" dur="750" fill="hold"/>
                                        <p:tgtEl>
                                          <p:spTgt spid="20"/>
                                        </p:tgtEl>
                                        <p:attrNameLst>
                                          <p:attrName>ppt_x</p:attrName>
                                          <p:attrName>ppt_y</p:attrName>
                                        </p:attrNameLst>
                                      </p:cBhvr>
                                      <p:rCtr x="1094" y="0"/>
                                    </p:animMotion>
                                  </p:childTnLst>
                                </p:cTn>
                              </p:par>
                              <p:par>
                                <p:cTn id="35" presetID="10" presetClass="entr" presetSubtype="0" fill="hold" grpId="0" nodeType="withEffect">
                                  <p:stCondLst>
                                    <p:cond delay="225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750"/>
                                        <p:tgtEl>
                                          <p:spTgt spid="4"/>
                                        </p:tgtEl>
                                      </p:cBhvr>
                                    </p:animEffect>
                                  </p:childTnLst>
                                </p:cTn>
                              </p:par>
                              <p:par>
                                <p:cTn id="38" presetID="10" presetClass="entr" presetSubtype="0" fill="hold" nodeType="withEffect">
                                  <p:stCondLst>
                                    <p:cond delay="2250"/>
                                  </p:stCondLst>
                                  <p:childTnLst>
                                    <p:set>
                                      <p:cBhvr>
                                        <p:cTn id="39" dur="1" fill="hold">
                                          <p:stCondLst>
                                            <p:cond delay="0"/>
                                          </p:stCondLst>
                                        </p:cTn>
                                        <p:tgtEl>
                                          <p:spTgt spid="180"/>
                                        </p:tgtEl>
                                        <p:attrNameLst>
                                          <p:attrName>style.visibility</p:attrName>
                                        </p:attrNameLst>
                                      </p:cBhvr>
                                      <p:to>
                                        <p:strVal val="visible"/>
                                      </p:to>
                                    </p:set>
                                    <p:animEffect transition="in" filter="fade">
                                      <p:cBhvr>
                                        <p:cTn id="40" dur="750"/>
                                        <p:tgtEl>
                                          <p:spTgt spid="180"/>
                                        </p:tgtEl>
                                      </p:cBhvr>
                                    </p:animEffect>
                                  </p:childTnLst>
                                </p:cTn>
                              </p:par>
                              <p:par>
                                <p:cTn id="41" presetID="35" presetClass="path" presetSubtype="0" accel="50000" decel="50000" fill="hold" nodeType="withEffect">
                                  <p:stCondLst>
                                    <p:cond delay="2250"/>
                                  </p:stCondLst>
                                  <p:childTnLst>
                                    <p:animMotion origin="layout" path="M -0.02197 -1.76849E-6 L 5.06329E-7 -1.76849E-6 " pathEditMode="relative" rAng="0" ptsTypes="AA">
                                      <p:cBhvr>
                                        <p:cTn id="42" dur="750" fill="hold"/>
                                        <p:tgtEl>
                                          <p:spTgt spid="180"/>
                                        </p:tgtEl>
                                        <p:attrNameLst>
                                          <p:attrName>ppt_x</p:attrName>
                                          <p:attrName>ppt_y</p:attrName>
                                        </p:attrNameLst>
                                      </p:cBhvr>
                                      <p:rCtr x="1094" y="0"/>
                                    </p:animMotion>
                                  </p:childTnLst>
                                </p:cTn>
                              </p:par>
                              <p:par>
                                <p:cTn id="43" presetID="10" presetClass="entr" presetSubtype="0" fill="hold" nodeType="withEffect">
                                  <p:stCondLst>
                                    <p:cond delay="2750"/>
                                  </p:stCondLst>
                                  <p:childTnLst>
                                    <p:set>
                                      <p:cBhvr>
                                        <p:cTn id="44" dur="1" fill="hold">
                                          <p:stCondLst>
                                            <p:cond delay="0"/>
                                          </p:stCondLst>
                                        </p:cTn>
                                        <p:tgtEl>
                                          <p:spTgt spid="127"/>
                                        </p:tgtEl>
                                        <p:attrNameLst>
                                          <p:attrName>style.visibility</p:attrName>
                                        </p:attrNameLst>
                                      </p:cBhvr>
                                      <p:to>
                                        <p:strVal val="visible"/>
                                      </p:to>
                                    </p:set>
                                    <p:animEffect transition="in" filter="fade">
                                      <p:cBhvr>
                                        <p:cTn id="45" dur="750"/>
                                        <p:tgtEl>
                                          <p:spTgt spid="127"/>
                                        </p:tgtEl>
                                      </p:cBhvr>
                                    </p:animEffect>
                                  </p:childTnLst>
                                </p:cTn>
                              </p:par>
                              <p:par>
                                <p:cTn id="46" presetID="10" presetClass="entr" presetSubtype="0" fill="hold" nodeType="withEffect">
                                  <p:stCondLst>
                                    <p:cond delay="2750"/>
                                  </p:stCondLst>
                                  <p:childTnLst>
                                    <p:set>
                                      <p:cBhvr>
                                        <p:cTn id="47" dur="1" fill="hold">
                                          <p:stCondLst>
                                            <p:cond delay="0"/>
                                          </p:stCondLst>
                                        </p:cTn>
                                        <p:tgtEl>
                                          <p:spTgt spid="254"/>
                                        </p:tgtEl>
                                        <p:attrNameLst>
                                          <p:attrName>style.visibility</p:attrName>
                                        </p:attrNameLst>
                                      </p:cBhvr>
                                      <p:to>
                                        <p:strVal val="visible"/>
                                      </p:to>
                                    </p:set>
                                    <p:animEffect transition="in" filter="fade">
                                      <p:cBhvr>
                                        <p:cTn id="48" dur="750"/>
                                        <p:tgtEl>
                                          <p:spTgt spid="254"/>
                                        </p:tgtEl>
                                      </p:cBhvr>
                                    </p:animEffect>
                                  </p:childTnLst>
                                </p:cTn>
                              </p:par>
                              <p:par>
                                <p:cTn id="49" presetID="35" presetClass="path" presetSubtype="0" accel="50000" decel="50000" fill="hold" nodeType="withEffect">
                                  <p:stCondLst>
                                    <p:cond delay="2750"/>
                                  </p:stCondLst>
                                  <p:childTnLst>
                                    <p:animMotion origin="layout" path="M -0.02197 4.30868E-6 L 1.88065E-6 4.30868E-6 " pathEditMode="relative" rAng="0" ptsTypes="AA">
                                      <p:cBhvr>
                                        <p:cTn id="50" dur="750" fill="hold"/>
                                        <p:tgtEl>
                                          <p:spTgt spid="254"/>
                                        </p:tgtEl>
                                        <p:attrNameLst>
                                          <p:attrName>ppt_x</p:attrName>
                                          <p:attrName>ppt_y</p:attrName>
                                        </p:attrNameLst>
                                      </p:cBhvr>
                                      <p:rCtr x="1094" y="0"/>
                                    </p:animMotion>
                                  </p:childTnLst>
                                </p:cTn>
                              </p:par>
                              <p:par>
                                <p:cTn id="51" presetID="10" presetClass="entr" presetSubtype="0" fill="hold" grpId="0" nodeType="withEffect">
                                  <p:stCondLst>
                                    <p:cond delay="3250"/>
                                  </p:stCondLst>
                                  <p:childTnLst>
                                    <p:set>
                                      <p:cBhvr>
                                        <p:cTn id="52" dur="1" fill="hold">
                                          <p:stCondLst>
                                            <p:cond delay="0"/>
                                          </p:stCondLst>
                                        </p:cTn>
                                        <p:tgtEl>
                                          <p:spTgt spid="128"/>
                                        </p:tgtEl>
                                        <p:attrNameLst>
                                          <p:attrName>style.visibility</p:attrName>
                                        </p:attrNameLst>
                                      </p:cBhvr>
                                      <p:to>
                                        <p:strVal val="visible"/>
                                      </p:to>
                                    </p:set>
                                    <p:animEffect transition="in" filter="fade">
                                      <p:cBhvr>
                                        <p:cTn id="53" dur="750"/>
                                        <p:tgtEl>
                                          <p:spTgt spid="128"/>
                                        </p:tgtEl>
                                      </p:cBhvr>
                                    </p:animEffect>
                                  </p:childTnLst>
                                </p:cTn>
                              </p:par>
                              <p:par>
                                <p:cTn id="54" presetID="10" presetClass="entr" presetSubtype="0" fill="hold" nodeType="withEffect">
                                  <p:stCondLst>
                                    <p:cond delay="3250"/>
                                  </p:stCondLst>
                                  <p:childTnLst>
                                    <p:set>
                                      <p:cBhvr>
                                        <p:cTn id="55" dur="1" fill="hold">
                                          <p:stCondLst>
                                            <p:cond delay="0"/>
                                          </p:stCondLst>
                                        </p:cTn>
                                        <p:tgtEl>
                                          <p:spTgt spid="65"/>
                                        </p:tgtEl>
                                        <p:attrNameLst>
                                          <p:attrName>style.visibility</p:attrName>
                                        </p:attrNameLst>
                                      </p:cBhvr>
                                      <p:to>
                                        <p:strVal val="visible"/>
                                      </p:to>
                                    </p:set>
                                    <p:animEffect transition="in" filter="fade">
                                      <p:cBhvr>
                                        <p:cTn id="56" dur="750"/>
                                        <p:tgtEl>
                                          <p:spTgt spid="65"/>
                                        </p:tgtEl>
                                      </p:cBhvr>
                                    </p:animEffect>
                                  </p:childTnLst>
                                </p:cTn>
                              </p:par>
                              <p:par>
                                <p:cTn id="57" presetID="35" presetClass="path" presetSubtype="0" accel="50000" decel="50000" fill="hold" nodeType="withEffect">
                                  <p:stCondLst>
                                    <p:cond delay="3250"/>
                                  </p:stCondLst>
                                  <p:childTnLst>
                                    <p:animMotion origin="layout" path="M -0.02197 -1.57556E-6 L 2.35081E-6 -1.57556E-6 " pathEditMode="relative" rAng="0" ptsTypes="AA">
                                      <p:cBhvr>
                                        <p:cTn id="58" dur="750" fill="hold"/>
                                        <p:tgtEl>
                                          <p:spTgt spid="65"/>
                                        </p:tgtEl>
                                        <p:attrNameLst>
                                          <p:attrName>ppt_x</p:attrName>
                                          <p:attrName>ppt_y</p:attrName>
                                        </p:attrNameLst>
                                      </p:cBhvr>
                                      <p:rCtr x="10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p:bldP spid="126" grpId="0"/>
      <p:bldP spid="4" grpId="0"/>
      <p:bldP spid="124" grpId="0"/>
      <p:bldP spid="12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3" name="Graphic 7">
            <a:extLst>
              <a:ext uri="{FF2B5EF4-FFF2-40B4-BE49-F238E27FC236}">
                <a16:creationId xmlns:a16="http://schemas.microsoft.com/office/drawing/2014/main" id="{C6931D42-3AEE-293E-89A0-BB15BAD306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5149907" y="7736033"/>
            <a:ext cx="3587225" cy="3587225"/>
          </a:xfrm>
          <a:prstGeom prst="rect">
            <a:avLst/>
          </a:prstGeom>
        </p:spPr>
      </p:pic>
      <p:pic>
        <p:nvPicPr>
          <p:cNvPr id="1020" name="Graphic 10">
            <a:extLst>
              <a:ext uri="{FF2B5EF4-FFF2-40B4-BE49-F238E27FC236}">
                <a16:creationId xmlns:a16="http://schemas.microsoft.com/office/drawing/2014/main" id="{3008C020-34F4-34ED-FC2C-AF4634FDDD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056926" y="5594622"/>
            <a:ext cx="4492897" cy="3177903"/>
          </a:xfrm>
          <a:prstGeom prst="rect">
            <a:avLst/>
          </a:prstGeom>
        </p:spPr>
      </p:pic>
      <p:grpSp>
        <p:nvGrpSpPr>
          <p:cNvPr id="5" name="Group 16">
            <a:extLst>
              <a:ext uri="{FF2B5EF4-FFF2-40B4-BE49-F238E27FC236}">
                <a16:creationId xmlns:a16="http://schemas.microsoft.com/office/drawing/2014/main" id="{2EF10BDF-3580-CB34-6E9E-36DB92382CE7}"/>
              </a:ext>
            </a:extLst>
          </p:cNvPr>
          <p:cNvGrpSpPr/>
          <p:nvPr/>
        </p:nvGrpSpPr>
        <p:grpSpPr>
          <a:xfrm>
            <a:off x="-2382025" y="1370437"/>
            <a:ext cx="6714515" cy="732940"/>
            <a:chOff x="9299123" y="8648298"/>
            <a:chExt cx="7528266" cy="821767"/>
          </a:xfrm>
        </p:grpSpPr>
        <p:pic>
          <p:nvPicPr>
            <p:cNvPr id="12" name="Graphic 8">
              <a:extLst>
                <a:ext uri="{FF2B5EF4-FFF2-40B4-BE49-F238E27FC236}">
                  <a16:creationId xmlns:a16="http://schemas.microsoft.com/office/drawing/2014/main" id="{611D3B81-3785-E951-E74E-CE2D69DB19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99123" y="8648298"/>
              <a:ext cx="7528266" cy="821767"/>
            </a:xfrm>
            <a:prstGeom prst="rect">
              <a:avLst/>
            </a:prstGeom>
          </p:spPr>
        </p:pic>
        <p:pic>
          <p:nvPicPr>
            <p:cNvPr id="13" name="Graphic 8">
              <a:extLst>
                <a:ext uri="{FF2B5EF4-FFF2-40B4-BE49-F238E27FC236}">
                  <a16:creationId xmlns:a16="http://schemas.microsoft.com/office/drawing/2014/main" id="{B216CB6F-8066-396F-3639-EA2571AE3C00}"/>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69351"/>
            <a:stretch/>
          </p:blipFill>
          <p:spPr>
            <a:xfrm>
              <a:off x="9299123" y="8648298"/>
              <a:ext cx="7528266" cy="251862"/>
            </a:xfrm>
            <a:prstGeom prst="rect">
              <a:avLst/>
            </a:prstGeom>
          </p:spPr>
        </p:pic>
        <p:pic>
          <p:nvPicPr>
            <p:cNvPr id="14" name="Graphic 8">
              <a:extLst>
                <a:ext uri="{FF2B5EF4-FFF2-40B4-BE49-F238E27FC236}">
                  <a16:creationId xmlns:a16="http://schemas.microsoft.com/office/drawing/2014/main" id="{671F18E7-546D-6740-EC75-D77369514BEF}"/>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t="38766" b="33250"/>
            <a:stretch/>
          </p:blipFill>
          <p:spPr>
            <a:xfrm>
              <a:off x="9299123" y="8959757"/>
              <a:ext cx="7528266" cy="229963"/>
            </a:xfrm>
            <a:prstGeom prst="rect">
              <a:avLst/>
            </a:prstGeom>
          </p:spPr>
        </p:pic>
        <p:pic>
          <p:nvPicPr>
            <p:cNvPr id="15" name="Graphic 8">
              <a:extLst>
                <a:ext uri="{FF2B5EF4-FFF2-40B4-BE49-F238E27FC236}">
                  <a16:creationId xmlns:a16="http://schemas.microsoft.com/office/drawing/2014/main" id="{EA91E707-BD06-BE1C-B6D0-9440A98D9223}"/>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t="75857" b="-893"/>
            <a:stretch/>
          </p:blipFill>
          <p:spPr>
            <a:xfrm>
              <a:off x="9299123" y="9264325"/>
              <a:ext cx="7528266" cy="205740"/>
            </a:xfrm>
            <a:prstGeom prst="rect">
              <a:avLst/>
            </a:prstGeom>
          </p:spPr>
        </p:pic>
      </p:grpSp>
      <p:sp>
        <p:nvSpPr>
          <p:cNvPr id="581" name="Gráfico 584">
            <a:extLst>
              <a:ext uri="{FF2B5EF4-FFF2-40B4-BE49-F238E27FC236}">
                <a16:creationId xmlns:a16="http://schemas.microsoft.com/office/drawing/2014/main" id="{A12A6E96-31C9-53D5-3599-44BBB9ED6E66}"/>
              </a:ext>
            </a:extLst>
          </p:cNvPr>
          <p:cNvSpPr/>
          <p:nvPr/>
        </p:nvSpPr>
        <p:spPr>
          <a:xfrm>
            <a:off x="14306510" y="2945453"/>
            <a:ext cx="680138" cy="1002082"/>
          </a:xfrm>
          <a:custGeom>
            <a:avLst/>
            <a:gdLst>
              <a:gd name="connsiteX0" fmla="*/ 1576735 w 3070035"/>
              <a:gd name="connsiteY0" fmla="*/ 412950 h 4523220"/>
              <a:gd name="connsiteX1" fmla="*/ 1583917 w 3070035"/>
              <a:gd name="connsiteY1" fmla="*/ 304699 h 4523220"/>
              <a:gd name="connsiteX2" fmla="*/ 1583917 w 3070035"/>
              <a:gd name="connsiteY2" fmla="*/ 277506 h 4523220"/>
              <a:gd name="connsiteX3" fmla="*/ 1529556 w 3070035"/>
              <a:gd name="connsiteY3" fmla="*/ 223144 h 4523220"/>
              <a:gd name="connsiteX4" fmla="*/ 1393640 w 3070035"/>
              <a:gd name="connsiteY4" fmla="*/ 223144 h 4523220"/>
              <a:gd name="connsiteX5" fmla="*/ 1303170 w 3070035"/>
              <a:gd name="connsiteY5" fmla="*/ 182528 h 4523220"/>
              <a:gd name="connsiteX6" fmla="*/ 1157968 w 3070035"/>
              <a:gd name="connsiteY6" fmla="*/ 19122 h 4523220"/>
              <a:gd name="connsiteX7" fmla="*/ 1078890 w 3070035"/>
              <a:gd name="connsiteY7" fmla="*/ 11916 h 4523220"/>
              <a:gd name="connsiteX8" fmla="*/ 920116 w 3070035"/>
              <a:gd name="connsiteY8" fmla="*/ 135399 h 4523220"/>
              <a:gd name="connsiteX9" fmla="*/ 850226 w 3070035"/>
              <a:gd name="connsiteY9" fmla="*/ 215987 h 4523220"/>
              <a:gd name="connsiteX10" fmla="*/ 795419 w 3070035"/>
              <a:gd name="connsiteY10" fmla="*/ 311881 h 4523220"/>
              <a:gd name="connsiteX11" fmla="*/ 727833 w 3070035"/>
              <a:gd name="connsiteY11" fmla="*/ 395168 h 4523220"/>
              <a:gd name="connsiteX12" fmla="*/ 564477 w 3070035"/>
              <a:gd name="connsiteY12" fmla="*/ 540421 h 4523220"/>
              <a:gd name="connsiteX13" fmla="*/ 523836 w 3070035"/>
              <a:gd name="connsiteY13" fmla="*/ 630891 h 4523220"/>
              <a:gd name="connsiteX14" fmla="*/ 523836 w 3070035"/>
              <a:gd name="connsiteY14" fmla="*/ 902697 h 4523220"/>
              <a:gd name="connsiteX15" fmla="*/ 485374 w 3070035"/>
              <a:gd name="connsiteY15" fmla="*/ 995495 h 4523220"/>
              <a:gd name="connsiteX16" fmla="*/ 426357 w 3070035"/>
              <a:gd name="connsiteY16" fmla="*/ 1054537 h 4523220"/>
              <a:gd name="connsiteX17" fmla="*/ 387896 w 3070035"/>
              <a:gd name="connsiteY17" fmla="*/ 1147335 h 4523220"/>
              <a:gd name="connsiteX18" fmla="*/ 387896 w 3070035"/>
              <a:gd name="connsiteY18" fmla="*/ 1201696 h 4523220"/>
              <a:gd name="connsiteX19" fmla="*/ 346611 w 3070035"/>
              <a:gd name="connsiteY19" fmla="*/ 1291423 h 4523220"/>
              <a:gd name="connsiteX20" fmla="*/ 238904 w 3070035"/>
              <a:gd name="connsiteY20" fmla="*/ 1383800 h 4523220"/>
              <a:gd name="connsiteX21" fmla="*/ 167479 w 3070035"/>
              <a:gd name="connsiteY21" fmla="*/ 1464388 h 4523220"/>
              <a:gd name="connsiteX22" fmla="*/ 10364 w 3070035"/>
              <a:gd name="connsiteY22" fmla="*/ 1700086 h 4523220"/>
              <a:gd name="connsiteX23" fmla="*/ 18660 w 3070035"/>
              <a:gd name="connsiteY23" fmla="*/ 1783770 h 4523220"/>
              <a:gd name="connsiteX24" fmla="*/ 159207 w 3070035"/>
              <a:gd name="connsiteY24" fmla="*/ 1924341 h 4523220"/>
              <a:gd name="connsiteX25" fmla="*/ 161535 w 3070035"/>
              <a:gd name="connsiteY25" fmla="*/ 2003394 h 4523220"/>
              <a:gd name="connsiteX26" fmla="*/ 16357 w 3070035"/>
              <a:gd name="connsiteY26" fmla="*/ 2166775 h 4523220"/>
              <a:gd name="connsiteX27" fmla="*/ 14178 w 3070035"/>
              <a:gd name="connsiteY27" fmla="*/ 2249865 h 4523220"/>
              <a:gd name="connsiteX28" fmla="*/ 163714 w 3070035"/>
              <a:gd name="connsiteY28" fmla="*/ 2436724 h 4523220"/>
              <a:gd name="connsiteX29" fmla="*/ 226174 w 3070035"/>
              <a:gd name="connsiteY29" fmla="*/ 2525485 h 4523220"/>
              <a:gd name="connsiteX30" fmla="*/ 386633 w 3070035"/>
              <a:gd name="connsiteY30" fmla="*/ 2786270 h 4523220"/>
              <a:gd name="connsiteX31" fmla="*/ 443941 w 3070035"/>
              <a:gd name="connsiteY31" fmla="*/ 2878622 h 4523220"/>
              <a:gd name="connsiteX32" fmla="*/ 522226 w 3070035"/>
              <a:gd name="connsiteY32" fmla="*/ 3003913 h 4523220"/>
              <a:gd name="connsiteX33" fmla="*/ 588351 w 3070035"/>
              <a:gd name="connsiteY33" fmla="*/ 3089504 h 4523220"/>
              <a:gd name="connsiteX34" fmla="*/ 744748 w 3070035"/>
              <a:gd name="connsiteY34" fmla="*/ 3255139 h 4523220"/>
              <a:gd name="connsiteX35" fmla="*/ 739275 w 3070035"/>
              <a:gd name="connsiteY35" fmla="*/ 3328124 h 4523220"/>
              <a:gd name="connsiteX36" fmla="*/ 512295 w 3070035"/>
              <a:gd name="connsiteY36" fmla="*/ 3505770 h 4523220"/>
              <a:gd name="connsiteX37" fmla="*/ 493795 w 3070035"/>
              <a:gd name="connsiteY37" fmla="*/ 3587894 h 4523220"/>
              <a:gd name="connsiteX38" fmla="*/ 526709 w 3070035"/>
              <a:gd name="connsiteY38" fmla="*/ 3653747 h 4523220"/>
              <a:gd name="connsiteX39" fmla="*/ 514895 w 3070035"/>
              <a:gd name="connsiteY39" fmla="*/ 3742978 h 4523220"/>
              <a:gd name="connsiteX40" fmla="*/ 369718 w 3070035"/>
              <a:gd name="connsiteY40" fmla="*/ 3906384 h 4523220"/>
              <a:gd name="connsiteX41" fmla="*/ 369718 w 3070035"/>
              <a:gd name="connsiteY41" fmla="*/ 3987616 h 4523220"/>
              <a:gd name="connsiteX42" fmla="*/ 514895 w 3070035"/>
              <a:gd name="connsiteY42" fmla="*/ 4151022 h 4523220"/>
              <a:gd name="connsiteX43" fmla="*/ 605390 w 3070035"/>
              <a:gd name="connsiteY43" fmla="*/ 4191638 h 4523220"/>
              <a:gd name="connsiteX44" fmla="*/ 850028 w 3070035"/>
              <a:gd name="connsiteY44" fmla="*/ 4191638 h 4523220"/>
              <a:gd name="connsiteX45" fmla="*/ 935347 w 3070035"/>
              <a:gd name="connsiteY45" fmla="*/ 4236341 h 4523220"/>
              <a:gd name="connsiteX46" fmla="*/ 1118070 w 3070035"/>
              <a:gd name="connsiteY46" fmla="*/ 4500296 h 4523220"/>
              <a:gd name="connsiteX47" fmla="*/ 1192987 w 3070035"/>
              <a:gd name="connsiteY47" fmla="*/ 4513026 h 4523220"/>
              <a:gd name="connsiteX48" fmla="*/ 1404067 w 3070035"/>
              <a:gd name="connsiteY48" fmla="*/ 4359502 h 4523220"/>
              <a:gd name="connsiteX49" fmla="*/ 1501348 w 3070035"/>
              <a:gd name="connsiteY49" fmla="*/ 4316879 h 4523220"/>
              <a:gd name="connsiteX50" fmla="*/ 1802452 w 3070035"/>
              <a:gd name="connsiteY50" fmla="*/ 4256674 h 4523220"/>
              <a:gd name="connsiteX51" fmla="*/ 1909886 w 3070035"/>
              <a:gd name="connsiteY51" fmla="*/ 4250928 h 4523220"/>
              <a:gd name="connsiteX52" fmla="*/ 2100559 w 3070035"/>
              <a:gd name="connsiteY52" fmla="*/ 4268239 h 4523220"/>
              <a:gd name="connsiteX53" fmla="*/ 2204205 w 3070035"/>
              <a:gd name="connsiteY53" fmla="*/ 4295680 h 4523220"/>
              <a:gd name="connsiteX54" fmla="*/ 2404264 w 3070035"/>
              <a:gd name="connsiteY54" fmla="*/ 4386571 h 4523220"/>
              <a:gd name="connsiteX55" fmla="*/ 2453722 w 3070035"/>
              <a:gd name="connsiteY55" fmla="*/ 4354697 h 4523220"/>
              <a:gd name="connsiteX56" fmla="*/ 2453722 w 3070035"/>
              <a:gd name="connsiteY56" fmla="*/ 3919807 h 4523220"/>
              <a:gd name="connsiteX57" fmla="*/ 2483887 w 3070035"/>
              <a:gd name="connsiteY57" fmla="*/ 3820223 h 4523220"/>
              <a:gd name="connsiteX58" fmla="*/ 2749724 w 3070035"/>
              <a:gd name="connsiteY58" fmla="*/ 3421417 h 4523220"/>
              <a:gd name="connsiteX59" fmla="*/ 2779889 w 3070035"/>
              <a:gd name="connsiteY59" fmla="*/ 3321834 h 4523220"/>
              <a:gd name="connsiteX60" fmla="*/ 2779889 w 3070035"/>
              <a:gd name="connsiteY60" fmla="*/ 3294641 h 4523220"/>
              <a:gd name="connsiteX61" fmla="*/ 2804184 w 3070035"/>
              <a:gd name="connsiteY61" fmla="*/ 3191664 h 4523220"/>
              <a:gd name="connsiteX62" fmla="*/ 2945845 w 3070035"/>
              <a:gd name="connsiteY62" fmla="*/ 2908391 h 4523220"/>
              <a:gd name="connsiteX63" fmla="*/ 2979874 w 3070035"/>
              <a:gd name="connsiteY63" fmla="*/ 2806306 h 4523220"/>
              <a:gd name="connsiteX64" fmla="*/ 3069180 w 3070035"/>
              <a:gd name="connsiteY64" fmla="*/ 2315222 h 4523220"/>
              <a:gd name="connsiteX65" fmla="*/ 3024527 w 3070035"/>
              <a:gd name="connsiteY65" fmla="*/ 2261752 h 4523220"/>
              <a:gd name="connsiteX66" fmla="*/ 2888611 w 3070035"/>
              <a:gd name="connsiteY66" fmla="*/ 2261752 h 4523220"/>
              <a:gd name="connsiteX67" fmla="*/ 2784297 w 3070035"/>
              <a:gd name="connsiteY67" fmla="*/ 2240355 h 4523220"/>
              <a:gd name="connsiteX68" fmla="*/ 2503650 w 3070035"/>
              <a:gd name="connsiteY68" fmla="*/ 2120066 h 4523220"/>
              <a:gd name="connsiteX69" fmla="*/ 2399336 w 3070035"/>
              <a:gd name="connsiteY69" fmla="*/ 2098669 h 4523220"/>
              <a:gd name="connsiteX70" fmla="*/ 2372143 w 3070035"/>
              <a:gd name="connsiteY70" fmla="*/ 2098669 h 4523220"/>
              <a:gd name="connsiteX71" fmla="*/ 2279345 w 3070035"/>
              <a:gd name="connsiteY71" fmla="*/ 2060257 h 4523220"/>
              <a:gd name="connsiteX72" fmla="*/ 2111555 w 3070035"/>
              <a:gd name="connsiteY72" fmla="*/ 1892492 h 4523220"/>
              <a:gd name="connsiteX73" fmla="*/ 2048848 w 3070035"/>
              <a:gd name="connsiteY73" fmla="*/ 1805440 h 4523220"/>
              <a:gd name="connsiteX74" fmla="*/ 1907187 w 3070035"/>
              <a:gd name="connsiteY74" fmla="*/ 1522167 h 4523220"/>
              <a:gd name="connsiteX75" fmla="*/ 1845891 w 3070035"/>
              <a:gd name="connsiteY75" fmla="*/ 1433728 h 4523220"/>
              <a:gd name="connsiteX76" fmla="*/ 1566532 w 3070035"/>
              <a:gd name="connsiteY76" fmla="*/ 1132822 h 4523220"/>
              <a:gd name="connsiteX77" fmla="*/ 1529506 w 3070035"/>
              <a:gd name="connsiteY77" fmla="*/ 1038637 h 4523220"/>
              <a:gd name="connsiteX78" fmla="*/ 1529506 w 3070035"/>
              <a:gd name="connsiteY78" fmla="*/ 821192 h 4523220"/>
              <a:gd name="connsiteX79" fmla="*/ 1536738 w 3070035"/>
              <a:gd name="connsiteY79" fmla="*/ 712940 h 4523220"/>
              <a:gd name="connsiteX80" fmla="*/ 1576710 w 3070035"/>
              <a:gd name="connsiteY80" fmla="*/ 413000 h 4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070035" h="4523220">
                <a:moveTo>
                  <a:pt x="1576735" y="412950"/>
                </a:moveTo>
                <a:cubicBezTo>
                  <a:pt x="1580673" y="383330"/>
                  <a:pt x="1583917" y="334591"/>
                  <a:pt x="1583917" y="304699"/>
                </a:cubicBezTo>
                <a:lnTo>
                  <a:pt x="1583917" y="277506"/>
                </a:lnTo>
                <a:cubicBezTo>
                  <a:pt x="1583917" y="247613"/>
                  <a:pt x="1559473" y="223144"/>
                  <a:pt x="1529556" y="223144"/>
                </a:cubicBezTo>
                <a:lnTo>
                  <a:pt x="1393640" y="223144"/>
                </a:lnTo>
                <a:cubicBezTo>
                  <a:pt x="1363773" y="223144"/>
                  <a:pt x="1323033" y="204892"/>
                  <a:pt x="1303170" y="182528"/>
                </a:cubicBezTo>
                <a:lnTo>
                  <a:pt x="1157968" y="19122"/>
                </a:lnTo>
                <a:cubicBezTo>
                  <a:pt x="1138056" y="-3216"/>
                  <a:pt x="1102517" y="-6461"/>
                  <a:pt x="1078890" y="11916"/>
                </a:cubicBezTo>
                <a:lnTo>
                  <a:pt x="920116" y="135399"/>
                </a:lnTo>
                <a:cubicBezTo>
                  <a:pt x="896489" y="153775"/>
                  <a:pt x="865061" y="190032"/>
                  <a:pt x="850226" y="215987"/>
                </a:cubicBezTo>
                <a:lnTo>
                  <a:pt x="795419" y="311881"/>
                </a:lnTo>
                <a:cubicBezTo>
                  <a:pt x="780584" y="337835"/>
                  <a:pt x="750197" y="375331"/>
                  <a:pt x="727833" y="395168"/>
                </a:cubicBezTo>
                <a:lnTo>
                  <a:pt x="564477" y="540421"/>
                </a:lnTo>
                <a:cubicBezTo>
                  <a:pt x="542113" y="560283"/>
                  <a:pt x="523836" y="600998"/>
                  <a:pt x="523836" y="630891"/>
                </a:cubicBezTo>
                <a:lnTo>
                  <a:pt x="523836" y="902697"/>
                </a:lnTo>
                <a:cubicBezTo>
                  <a:pt x="523836" y="932589"/>
                  <a:pt x="506525" y="974369"/>
                  <a:pt x="485374" y="995495"/>
                </a:cubicBezTo>
                <a:lnTo>
                  <a:pt x="426357" y="1054537"/>
                </a:lnTo>
                <a:cubicBezTo>
                  <a:pt x="405207" y="1075662"/>
                  <a:pt x="387896" y="1117442"/>
                  <a:pt x="387896" y="1147335"/>
                </a:cubicBezTo>
                <a:lnTo>
                  <a:pt x="387896" y="1201696"/>
                </a:lnTo>
                <a:cubicBezTo>
                  <a:pt x="387896" y="1231589"/>
                  <a:pt x="369297" y="1271982"/>
                  <a:pt x="346611" y="1291423"/>
                </a:cubicBezTo>
                <a:lnTo>
                  <a:pt x="238904" y="1383800"/>
                </a:lnTo>
                <a:cubicBezTo>
                  <a:pt x="216218" y="1403241"/>
                  <a:pt x="184047" y="1439499"/>
                  <a:pt x="167479" y="1464388"/>
                </a:cubicBezTo>
                <a:lnTo>
                  <a:pt x="10364" y="1700086"/>
                </a:lnTo>
                <a:cubicBezTo>
                  <a:pt x="-6229" y="1724976"/>
                  <a:pt x="-2490" y="1762620"/>
                  <a:pt x="18660" y="1783770"/>
                </a:cubicBezTo>
                <a:lnTo>
                  <a:pt x="159207" y="1924341"/>
                </a:lnTo>
                <a:cubicBezTo>
                  <a:pt x="180357" y="1945467"/>
                  <a:pt x="181422" y="1981031"/>
                  <a:pt x="161535" y="2003394"/>
                </a:cubicBezTo>
                <a:lnTo>
                  <a:pt x="16357" y="2166775"/>
                </a:lnTo>
                <a:cubicBezTo>
                  <a:pt x="-3530" y="2189114"/>
                  <a:pt x="-4471" y="2226486"/>
                  <a:pt x="14178" y="2249865"/>
                </a:cubicBezTo>
                <a:lnTo>
                  <a:pt x="163714" y="2436724"/>
                </a:lnTo>
                <a:cubicBezTo>
                  <a:pt x="182388" y="2460078"/>
                  <a:pt x="210497" y="2500001"/>
                  <a:pt x="226174" y="2525485"/>
                </a:cubicBezTo>
                <a:lnTo>
                  <a:pt x="386633" y="2786270"/>
                </a:lnTo>
                <a:cubicBezTo>
                  <a:pt x="402310" y="2811754"/>
                  <a:pt x="428091" y="2853312"/>
                  <a:pt x="443941" y="2878622"/>
                </a:cubicBezTo>
                <a:lnTo>
                  <a:pt x="522226" y="3003913"/>
                </a:lnTo>
                <a:cubicBezTo>
                  <a:pt x="538052" y="3029249"/>
                  <a:pt x="567820" y="3067785"/>
                  <a:pt x="588351" y="3089504"/>
                </a:cubicBezTo>
                <a:lnTo>
                  <a:pt x="744748" y="3255139"/>
                </a:lnTo>
                <a:cubicBezTo>
                  <a:pt x="765279" y="3276859"/>
                  <a:pt x="762802" y="3309723"/>
                  <a:pt x="739275" y="3328124"/>
                </a:cubicBezTo>
                <a:lnTo>
                  <a:pt x="512295" y="3505770"/>
                </a:lnTo>
                <a:cubicBezTo>
                  <a:pt x="488743" y="3524196"/>
                  <a:pt x="480421" y="3561147"/>
                  <a:pt x="493795" y="3587894"/>
                </a:cubicBezTo>
                <a:lnTo>
                  <a:pt x="526709" y="3653747"/>
                </a:lnTo>
                <a:cubicBezTo>
                  <a:pt x="540082" y="3680494"/>
                  <a:pt x="534783" y="3720639"/>
                  <a:pt x="514895" y="3742978"/>
                </a:cubicBezTo>
                <a:lnTo>
                  <a:pt x="369718" y="3906384"/>
                </a:lnTo>
                <a:cubicBezTo>
                  <a:pt x="349831" y="3928723"/>
                  <a:pt x="349831" y="3965253"/>
                  <a:pt x="369718" y="3987616"/>
                </a:cubicBezTo>
                <a:lnTo>
                  <a:pt x="514895" y="4151022"/>
                </a:lnTo>
                <a:cubicBezTo>
                  <a:pt x="534783" y="4173361"/>
                  <a:pt x="575498" y="4191638"/>
                  <a:pt x="605390" y="4191638"/>
                </a:cubicBezTo>
                <a:lnTo>
                  <a:pt x="850028" y="4191638"/>
                </a:lnTo>
                <a:cubicBezTo>
                  <a:pt x="879921" y="4191638"/>
                  <a:pt x="918308" y="4211748"/>
                  <a:pt x="935347" y="4236341"/>
                </a:cubicBezTo>
                <a:lnTo>
                  <a:pt x="1118070" y="4500296"/>
                </a:lnTo>
                <a:cubicBezTo>
                  <a:pt x="1135084" y="4524864"/>
                  <a:pt x="1168815" y="4530610"/>
                  <a:pt x="1192987" y="4513026"/>
                </a:cubicBezTo>
                <a:lnTo>
                  <a:pt x="1404067" y="4359502"/>
                </a:lnTo>
                <a:cubicBezTo>
                  <a:pt x="1428263" y="4341918"/>
                  <a:pt x="1472025" y="4322774"/>
                  <a:pt x="1501348" y="4316879"/>
                </a:cubicBezTo>
                <a:lnTo>
                  <a:pt x="1802452" y="4256674"/>
                </a:lnTo>
                <a:cubicBezTo>
                  <a:pt x="1831750" y="4250779"/>
                  <a:pt x="1880093" y="4248228"/>
                  <a:pt x="1909886" y="4250928"/>
                </a:cubicBezTo>
                <a:lnTo>
                  <a:pt x="2100559" y="4268239"/>
                </a:lnTo>
                <a:cubicBezTo>
                  <a:pt x="2130378" y="4270939"/>
                  <a:pt x="2176987" y="4283322"/>
                  <a:pt x="2204205" y="4295680"/>
                </a:cubicBezTo>
                <a:lnTo>
                  <a:pt x="2404264" y="4386571"/>
                </a:lnTo>
                <a:cubicBezTo>
                  <a:pt x="2431432" y="4398929"/>
                  <a:pt x="2453722" y="4384590"/>
                  <a:pt x="2453722" y="4354697"/>
                </a:cubicBezTo>
                <a:lnTo>
                  <a:pt x="2453722" y="3919807"/>
                </a:lnTo>
                <a:cubicBezTo>
                  <a:pt x="2453722" y="3889915"/>
                  <a:pt x="2467293" y="3845113"/>
                  <a:pt x="2483887" y="3820223"/>
                </a:cubicBezTo>
                <a:lnTo>
                  <a:pt x="2749724" y="3421417"/>
                </a:lnTo>
                <a:cubicBezTo>
                  <a:pt x="2766342" y="3396528"/>
                  <a:pt x="2779889" y="3351701"/>
                  <a:pt x="2779889" y="3321834"/>
                </a:cubicBezTo>
                <a:lnTo>
                  <a:pt x="2779889" y="3294641"/>
                </a:lnTo>
                <a:cubicBezTo>
                  <a:pt x="2779889" y="3264748"/>
                  <a:pt x="2790836" y="3218411"/>
                  <a:pt x="2804184" y="3191664"/>
                </a:cubicBezTo>
                <a:lnTo>
                  <a:pt x="2945845" y="2908391"/>
                </a:lnTo>
                <a:cubicBezTo>
                  <a:pt x="2959219" y="2881644"/>
                  <a:pt x="2974549" y="2835728"/>
                  <a:pt x="2979874" y="2806306"/>
                </a:cubicBezTo>
                <a:lnTo>
                  <a:pt x="3069180" y="2315222"/>
                </a:lnTo>
                <a:cubicBezTo>
                  <a:pt x="3074505" y="2285800"/>
                  <a:pt x="3054420" y="2261752"/>
                  <a:pt x="3024527" y="2261752"/>
                </a:cubicBezTo>
                <a:lnTo>
                  <a:pt x="2888611" y="2261752"/>
                </a:lnTo>
                <a:cubicBezTo>
                  <a:pt x="2858719" y="2261752"/>
                  <a:pt x="2811763" y="2252094"/>
                  <a:pt x="2784297" y="2240355"/>
                </a:cubicBezTo>
                <a:lnTo>
                  <a:pt x="2503650" y="2120066"/>
                </a:lnTo>
                <a:cubicBezTo>
                  <a:pt x="2476184" y="2108327"/>
                  <a:pt x="2429228" y="2098669"/>
                  <a:pt x="2399336" y="2098669"/>
                </a:cubicBezTo>
                <a:lnTo>
                  <a:pt x="2372143" y="2098669"/>
                </a:lnTo>
                <a:cubicBezTo>
                  <a:pt x="2342250" y="2098669"/>
                  <a:pt x="2300470" y="2081357"/>
                  <a:pt x="2279345" y="2060257"/>
                </a:cubicBezTo>
                <a:lnTo>
                  <a:pt x="2111555" y="1892492"/>
                </a:lnTo>
                <a:cubicBezTo>
                  <a:pt x="2090455" y="1871367"/>
                  <a:pt x="2062197" y="1832187"/>
                  <a:pt x="2048848" y="1805440"/>
                </a:cubicBezTo>
                <a:lnTo>
                  <a:pt x="1907187" y="1522167"/>
                </a:lnTo>
                <a:cubicBezTo>
                  <a:pt x="1893813" y="1495420"/>
                  <a:pt x="1866224" y="1455596"/>
                  <a:pt x="1845891" y="1433728"/>
                </a:cubicBezTo>
                <a:lnTo>
                  <a:pt x="1566532" y="1132822"/>
                </a:lnTo>
                <a:cubicBezTo>
                  <a:pt x="1546149" y="1110954"/>
                  <a:pt x="1529506" y="1068530"/>
                  <a:pt x="1529506" y="1038637"/>
                </a:cubicBezTo>
                <a:lnTo>
                  <a:pt x="1529506" y="821192"/>
                </a:lnTo>
                <a:cubicBezTo>
                  <a:pt x="1529506" y="791300"/>
                  <a:pt x="1532751" y="742560"/>
                  <a:pt x="1536738" y="712940"/>
                </a:cubicBezTo>
                <a:lnTo>
                  <a:pt x="1576710" y="413000"/>
                </a:lnTo>
                <a:close/>
              </a:path>
            </a:pathLst>
          </a:custGeom>
          <a:solidFill>
            <a:srgbClr val="FF5000"/>
          </a:solidFill>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pt-BR"/>
          </a:p>
        </p:txBody>
      </p:sp>
      <p:grpSp>
        <p:nvGrpSpPr>
          <p:cNvPr id="6" name="Agrupar 5">
            <a:extLst>
              <a:ext uri="{FF2B5EF4-FFF2-40B4-BE49-F238E27FC236}">
                <a16:creationId xmlns:a16="http://schemas.microsoft.com/office/drawing/2014/main" id="{216DE41B-BB6B-2DA3-4169-3672BF76F308}"/>
              </a:ext>
            </a:extLst>
          </p:cNvPr>
          <p:cNvGrpSpPr/>
          <p:nvPr/>
        </p:nvGrpSpPr>
        <p:grpSpPr>
          <a:xfrm>
            <a:off x="14529563" y="3390892"/>
            <a:ext cx="1959965" cy="382791"/>
            <a:chOff x="14412149" y="3262331"/>
            <a:chExt cx="1959965" cy="382791"/>
          </a:xfrm>
        </p:grpSpPr>
        <p:sp>
          <p:nvSpPr>
            <p:cNvPr id="705" name="CaixaDeTexto 704">
              <a:extLst>
                <a:ext uri="{FF2B5EF4-FFF2-40B4-BE49-F238E27FC236}">
                  <a16:creationId xmlns:a16="http://schemas.microsoft.com/office/drawing/2014/main" id="{D71D9D1D-411A-3ABE-AD2F-4A82DB079DB4}"/>
                </a:ext>
              </a:extLst>
            </p:cNvPr>
            <p:cNvSpPr txBox="1"/>
            <p:nvPr/>
          </p:nvSpPr>
          <p:spPr>
            <a:xfrm>
              <a:off x="14835006" y="3306568"/>
              <a:ext cx="1537108"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b="1" dirty="0"/>
                <a:t>Luxemburgo</a:t>
              </a:r>
            </a:p>
          </p:txBody>
        </p:sp>
        <p:grpSp>
          <p:nvGrpSpPr>
            <p:cNvPr id="706" name="Agrupar 705">
              <a:extLst>
                <a:ext uri="{FF2B5EF4-FFF2-40B4-BE49-F238E27FC236}">
                  <a16:creationId xmlns:a16="http://schemas.microsoft.com/office/drawing/2014/main" id="{135FDEDC-680B-5EE9-9FBF-20E79CF759CA}"/>
                </a:ext>
              </a:extLst>
            </p:cNvPr>
            <p:cNvGrpSpPr/>
            <p:nvPr/>
          </p:nvGrpSpPr>
          <p:grpSpPr>
            <a:xfrm>
              <a:off x="14412149" y="3262331"/>
              <a:ext cx="260388" cy="277336"/>
              <a:chOff x="1275030" y="6279557"/>
              <a:chExt cx="402431" cy="428625"/>
            </a:xfrm>
          </p:grpSpPr>
          <p:pic>
            <p:nvPicPr>
              <p:cNvPr id="707" name="Gráfico 706">
                <a:extLst>
                  <a:ext uri="{FF2B5EF4-FFF2-40B4-BE49-F238E27FC236}">
                    <a16:creationId xmlns:a16="http://schemas.microsoft.com/office/drawing/2014/main" id="{7D9A4B07-7CDF-071E-C9A4-384F695A08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7411" y="6279557"/>
                <a:ext cx="400050" cy="428625"/>
              </a:xfrm>
              <a:prstGeom prst="rect">
                <a:avLst/>
              </a:prstGeom>
            </p:spPr>
          </p:pic>
          <p:cxnSp>
            <p:nvCxnSpPr>
              <p:cNvPr id="708" name="Conector reto 707">
                <a:extLst>
                  <a:ext uri="{FF2B5EF4-FFF2-40B4-BE49-F238E27FC236}">
                    <a16:creationId xmlns:a16="http://schemas.microsoft.com/office/drawing/2014/main" id="{21913FA6-182B-69BC-C2C4-5F999B88A1B3}"/>
                  </a:ext>
                </a:extLst>
              </p:cNvPr>
              <p:cNvCxnSpPr>
                <a:cxnSpLocks/>
              </p:cNvCxnSpPr>
              <p:nvPr/>
            </p:nvCxnSpPr>
            <p:spPr>
              <a:xfrm>
                <a:off x="1275030" y="6708182"/>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grpSp>
      <p:sp>
        <p:nvSpPr>
          <p:cNvPr id="856" name="Rectangle 11">
            <a:extLst>
              <a:ext uri="{FF2B5EF4-FFF2-40B4-BE49-F238E27FC236}">
                <a16:creationId xmlns:a16="http://schemas.microsoft.com/office/drawing/2014/main" id="{D1DF26B4-596D-C3A0-4155-1774B95C2E46}"/>
              </a:ext>
            </a:extLst>
          </p:cNvPr>
          <p:cNvSpPr/>
          <p:nvPr/>
        </p:nvSpPr>
        <p:spPr>
          <a:xfrm>
            <a:off x="2" y="8022032"/>
            <a:ext cx="17557748" cy="1852217"/>
          </a:xfrm>
          <a:prstGeom prst="rect">
            <a:avLst/>
          </a:prstGeom>
          <a:solidFill>
            <a:srgbClr val="DBD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3C3C3C"/>
              </a:solidFill>
              <a:latin typeface="Votorantim Sans Light" panose="02010303030202050203" pitchFamily="2" charset="0"/>
            </a:endParaRPr>
          </a:p>
        </p:txBody>
      </p:sp>
      <p:grpSp>
        <p:nvGrpSpPr>
          <p:cNvPr id="629" name="Agrupar 628">
            <a:extLst>
              <a:ext uri="{FF2B5EF4-FFF2-40B4-BE49-F238E27FC236}">
                <a16:creationId xmlns:a16="http://schemas.microsoft.com/office/drawing/2014/main" id="{27F42C3D-EB37-DFDF-BCBC-2046B3597407}"/>
              </a:ext>
            </a:extLst>
          </p:cNvPr>
          <p:cNvGrpSpPr/>
          <p:nvPr/>
        </p:nvGrpSpPr>
        <p:grpSpPr>
          <a:xfrm>
            <a:off x="8778184" y="8375637"/>
            <a:ext cx="402431" cy="457200"/>
            <a:chOff x="1275030" y="5205172"/>
            <a:chExt cx="402431" cy="457200"/>
          </a:xfrm>
        </p:grpSpPr>
        <p:pic>
          <p:nvPicPr>
            <p:cNvPr id="618" name="Gráfico 617">
              <a:extLst>
                <a:ext uri="{FF2B5EF4-FFF2-40B4-BE49-F238E27FC236}">
                  <a16:creationId xmlns:a16="http://schemas.microsoft.com/office/drawing/2014/main" id="{8EC6AFD8-3CEF-9905-9D9F-49F623E3D1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77411" y="5205172"/>
              <a:ext cx="400050" cy="457200"/>
            </a:xfrm>
            <a:prstGeom prst="rect">
              <a:avLst/>
            </a:prstGeom>
          </p:spPr>
        </p:pic>
        <p:cxnSp>
          <p:nvCxnSpPr>
            <p:cNvPr id="627" name="Conector reto 626">
              <a:extLst>
                <a:ext uri="{FF2B5EF4-FFF2-40B4-BE49-F238E27FC236}">
                  <a16:creationId xmlns:a16="http://schemas.microsoft.com/office/drawing/2014/main" id="{BE432E40-CDEA-C119-B2C7-1434C09B83C4}"/>
                </a:ext>
              </a:extLst>
            </p:cNvPr>
            <p:cNvCxnSpPr>
              <a:cxnSpLocks/>
            </p:cNvCxnSpPr>
            <p:nvPr/>
          </p:nvCxnSpPr>
          <p:spPr>
            <a:xfrm>
              <a:off x="1275030" y="5657369"/>
              <a:ext cx="402431" cy="0"/>
            </a:xfrm>
            <a:prstGeom prst="line">
              <a:avLst/>
            </a:prstGeom>
            <a:ln w="34925">
              <a:solidFill>
                <a:srgbClr val="FF5000"/>
              </a:solidFill>
            </a:ln>
          </p:spPr>
          <p:style>
            <a:lnRef idx="1">
              <a:schemeClr val="accent1"/>
            </a:lnRef>
            <a:fillRef idx="0">
              <a:schemeClr val="accent1"/>
            </a:fillRef>
            <a:effectRef idx="0">
              <a:schemeClr val="accent1"/>
            </a:effectRef>
            <a:fontRef idx="minor">
              <a:schemeClr val="tx1"/>
            </a:fontRef>
          </p:style>
        </p:cxnSp>
      </p:grpSp>
      <p:grpSp>
        <p:nvGrpSpPr>
          <p:cNvPr id="631" name="Agrupar 630">
            <a:extLst>
              <a:ext uri="{FF2B5EF4-FFF2-40B4-BE49-F238E27FC236}">
                <a16:creationId xmlns:a16="http://schemas.microsoft.com/office/drawing/2014/main" id="{4104E629-E326-B8C5-56A1-6073733F1283}"/>
              </a:ext>
            </a:extLst>
          </p:cNvPr>
          <p:cNvGrpSpPr/>
          <p:nvPr/>
        </p:nvGrpSpPr>
        <p:grpSpPr>
          <a:xfrm>
            <a:off x="10894688" y="8404212"/>
            <a:ext cx="402431" cy="428625"/>
            <a:chOff x="1275030" y="6279557"/>
            <a:chExt cx="402431" cy="428625"/>
          </a:xfrm>
        </p:grpSpPr>
        <p:pic>
          <p:nvPicPr>
            <p:cNvPr id="616" name="Gráfico 615">
              <a:extLst>
                <a:ext uri="{FF2B5EF4-FFF2-40B4-BE49-F238E27FC236}">
                  <a16:creationId xmlns:a16="http://schemas.microsoft.com/office/drawing/2014/main" id="{C13E5081-C175-0904-CABC-6E96CDB3C66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277411" y="6279557"/>
              <a:ext cx="400050" cy="428625"/>
            </a:xfrm>
            <a:prstGeom prst="rect">
              <a:avLst/>
            </a:prstGeom>
          </p:spPr>
        </p:pic>
        <p:cxnSp>
          <p:nvCxnSpPr>
            <p:cNvPr id="630" name="Conector reto 629">
              <a:extLst>
                <a:ext uri="{FF2B5EF4-FFF2-40B4-BE49-F238E27FC236}">
                  <a16:creationId xmlns:a16="http://schemas.microsoft.com/office/drawing/2014/main" id="{7498EE2B-41A7-DC94-B70D-C9A0B4F0D230}"/>
                </a:ext>
              </a:extLst>
            </p:cNvPr>
            <p:cNvCxnSpPr>
              <a:cxnSpLocks/>
            </p:cNvCxnSpPr>
            <p:nvPr/>
          </p:nvCxnSpPr>
          <p:spPr>
            <a:xfrm>
              <a:off x="1275030" y="6708182"/>
              <a:ext cx="402431" cy="0"/>
            </a:xfrm>
            <a:prstGeom prst="line">
              <a:avLst/>
            </a:prstGeom>
            <a:ln w="34925">
              <a:solidFill>
                <a:srgbClr val="FF5000"/>
              </a:solidFill>
            </a:ln>
          </p:spPr>
          <p:style>
            <a:lnRef idx="1">
              <a:schemeClr val="accent1"/>
            </a:lnRef>
            <a:fillRef idx="0">
              <a:schemeClr val="accent1"/>
            </a:fillRef>
            <a:effectRef idx="0">
              <a:schemeClr val="accent1"/>
            </a:effectRef>
            <a:fontRef idx="minor">
              <a:schemeClr val="tx1"/>
            </a:fontRef>
          </p:style>
        </p:cxnSp>
      </p:grpSp>
      <p:grpSp>
        <p:nvGrpSpPr>
          <p:cNvPr id="634" name="Agrupar 633">
            <a:extLst>
              <a:ext uri="{FF2B5EF4-FFF2-40B4-BE49-F238E27FC236}">
                <a16:creationId xmlns:a16="http://schemas.microsoft.com/office/drawing/2014/main" id="{2B4DB046-0973-9E2C-AF93-F7A8080CCA14}"/>
              </a:ext>
            </a:extLst>
          </p:cNvPr>
          <p:cNvGrpSpPr/>
          <p:nvPr/>
        </p:nvGrpSpPr>
        <p:grpSpPr>
          <a:xfrm>
            <a:off x="4754146" y="8322929"/>
            <a:ext cx="450535" cy="478265"/>
            <a:chOff x="1254810" y="3958423"/>
            <a:chExt cx="450535" cy="478265"/>
          </a:xfrm>
        </p:grpSpPr>
        <p:grpSp>
          <p:nvGrpSpPr>
            <p:cNvPr id="614" name="Agrupar 613">
              <a:extLst>
                <a:ext uri="{FF2B5EF4-FFF2-40B4-BE49-F238E27FC236}">
                  <a16:creationId xmlns:a16="http://schemas.microsoft.com/office/drawing/2014/main" id="{96C61AC3-FF53-8C85-71DF-998EAFA584AA}"/>
                </a:ext>
              </a:extLst>
            </p:cNvPr>
            <p:cNvGrpSpPr/>
            <p:nvPr/>
          </p:nvGrpSpPr>
          <p:grpSpPr>
            <a:xfrm>
              <a:off x="1254810" y="3958423"/>
              <a:ext cx="450535" cy="473984"/>
              <a:chOff x="1226926" y="3792328"/>
              <a:chExt cx="545688" cy="574090"/>
            </a:xfrm>
          </p:grpSpPr>
          <p:sp>
            <p:nvSpPr>
              <p:cNvPr id="593" name="Forma Livre: Forma 592">
                <a:extLst>
                  <a:ext uri="{FF2B5EF4-FFF2-40B4-BE49-F238E27FC236}">
                    <a16:creationId xmlns:a16="http://schemas.microsoft.com/office/drawing/2014/main" id="{00E68AD3-C958-F694-68D8-4279C55920BA}"/>
                  </a:ext>
                </a:extLst>
              </p:cNvPr>
              <p:cNvSpPr/>
              <p:nvPr/>
            </p:nvSpPr>
            <p:spPr>
              <a:xfrm>
                <a:off x="1226926" y="3896444"/>
                <a:ext cx="413399" cy="469974"/>
              </a:xfrm>
              <a:custGeom>
                <a:avLst/>
                <a:gdLst>
                  <a:gd name="connsiteX0" fmla="*/ 275523 w 413399"/>
                  <a:gd name="connsiteY0" fmla="*/ 159925 h 469974"/>
                  <a:gd name="connsiteX1" fmla="*/ 211370 w 413399"/>
                  <a:gd name="connsiteY1" fmla="*/ 53436 h 469974"/>
                  <a:gd name="connsiteX2" fmla="*/ 91943 w 413399"/>
                  <a:gd name="connsiteY2" fmla="*/ 0 h 469974"/>
                  <a:gd name="connsiteX3" fmla="*/ 0 w 413399"/>
                  <a:gd name="connsiteY3" fmla="*/ 163523 h 469974"/>
                  <a:gd name="connsiteX4" fmla="*/ 109015 w 413399"/>
                  <a:gd name="connsiteY4" fmla="*/ 414625 h 469974"/>
                  <a:gd name="connsiteX5" fmla="*/ 230815 w 413399"/>
                  <a:gd name="connsiteY5" fmla="*/ 469975 h 469974"/>
                  <a:gd name="connsiteX6" fmla="*/ 400921 w 413399"/>
                  <a:gd name="connsiteY6" fmla="*/ 469975 h 469974"/>
                  <a:gd name="connsiteX7" fmla="*/ 413400 w 413399"/>
                  <a:gd name="connsiteY7" fmla="*/ 429247 h 469974"/>
                  <a:gd name="connsiteX8" fmla="*/ 383314 w 413399"/>
                  <a:gd name="connsiteY8" fmla="*/ 339065 h 469974"/>
                  <a:gd name="connsiteX9" fmla="*/ 383620 w 413399"/>
                  <a:gd name="connsiteY9" fmla="*/ 268557 h 469974"/>
                  <a:gd name="connsiteX10" fmla="*/ 334088 w 413399"/>
                  <a:gd name="connsiteY10" fmla="*/ 266337 h 469974"/>
                  <a:gd name="connsiteX11" fmla="*/ 318318 w 413399"/>
                  <a:gd name="connsiteY11" fmla="*/ 197743 h 469974"/>
                  <a:gd name="connsiteX12" fmla="*/ 275523 w 413399"/>
                  <a:gd name="connsiteY12" fmla="*/ 159925 h 46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399" h="469974">
                    <a:moveTo>
                      <a:pt x="275523" y="159925"/>
                    </a:moveTo>
                    <a:lnTo>
                      <a:pt x="211370" y="53436"/>
                    </a:lnTo>
                    <a:lnTo>
                      <a:pt x="91943" y="0"/>
                    </a:lnTo>
                    <a:lnTo>
                      <a:pt x="0" y="163523"/>
                    </a:lnTo>
                    <a:lnTo>
                      <a:pt x="109015" y="414625"/>
                    </a:lnTo>
                    <a:lnTo>
                      <a:pt x="230815" y="469975"/>
                    </a:lnTo>
                    <a:lnTo>
                      <a:pt x="400921" y="469975"/>
                    </a:lnTo>
                    <a:lnTo>
                      <a:pt x="413400" y="429247"/>
                    </a:lnTo>
                    <a:lnTo>
                      <a:pt x="383314" y="339065"/>
                    </a:lnTo>
                    <a:lnTo>
                      <a:pt x="383620" y="268557"/>
                    </a:lnTo>
                    <a:lnTo>
                      <a:pt x="334088" y="266337"/>
                    </a:lnTo>
                    <a:lnTo>
                      <a:pt x="318318" y="197743"/>
                    </a:lnTo>
                    <a:lnTo>
                      <a:pt x="275523" y="159925"/>
                    </a:lnTo>
                    <a:close/>
                  </a:path>
                </a:pathLst>
              </a:custGeom>
              <a:noFill/>
              <a:ln w="19050" cap="rnd">
                <a:solidFill>
                  <a:srgbClr val="3C3C3C"/>
                </a:solidFill>
                <a:prstDash val="solid"/>
                <a:round/>
              </a:ln>
            </p:spPr>
            <p:txBody>
              <a:bodyPr rtlCol="0" anchor="ctr"/>
              <a:lstStyle/>
              <a:p>
                <a:pPr algn="r"/>
                <a:endParaRPr lang="pt-BR"/>
              </a:p>
            </p:txBody>
          </p:sp>
          <p:sp>
            <p:nvSpPr>
              <p:cNvPr id="594" name="Forma Livre: Forma 593">
                <a:extLst>
                  <a:ext uri="{FF2B5EF4-FFF2-40B4-BE49-F238E27FC236}">
                    <a16:creationId xmlns:a16="http://schemas.microsoft.com/office/drawing/2014/main" id="{2B16EF3B-AC17-245A-4FE1-73EE5360620C}"/>
                  </a:ext>
                </a:extLst>
              </p:cNvPr>
              <p:cNvSpPr/>
              <p:nvPr/>
            </p:nvSpPr>
            <p:spPr>
              <a:xfrm>
                <a:off x="1629609" y="4162780"/>
                <a:ext cx="44708" cy="125780"/>
              </a:xfrm>
              <a:custGeom>
                <a:avLst/>
                <a:gdLst>
                  <a:gd name="connsiteX0" fmla="*/ 44708 w 44708"/>
                  <a:gd name="connsiteY0" fmla="*/ 0 h 125780"/>
                  <a:gd name="connsiteX1" fmla="*/ 0 w 44708"/>
                  <a:gd name="connsiteY1" fmla="*/ 125781 h 125780"/>
                </a:gdLst>
                <a:ahLst/>
                <a:cxnLst>
                  <a:cxn ang="0">
                    <a:pos x="connsiteX0" y="connsiteY0"/>
                  </a:cxn>
                  <a:cxn ang="0">
                    <a:pos x="connsiteX1" y="connsiteY1"/>
                  </a:cxn>
                </a:cxnLst>
                <a:rect l="l" t="t" r="r" b="b"/>
                <a:pathLst>
                  <a:path w="44708" h="125780">
                    <a:moveTo>
                      <a:pt x="44708" y="0"/>
                    </a:moveTo>
                    <a:lnTo>
                      <a:pt x="0" y="125781"/>
                    </a:lnTo>
                  </a:path>
                </a:pathLst>
              </a:custGeom>
              <a:ln w="19050" cap="rnd">
                <a:solidFill>
                  <a:srgbClr val="3C3C3C"/>
                </a:solidFill>
                <a:prstDash val="solid"/>
                <a:round/>
              </a:ln>
            </p:spPr>
            <p:txBody>
              <a:bodyPr rtlCol="0" anchor="ctr"/>
              <a:lstStyle/>
              <a:p>
                <a:pPr algn="r"/>
                <a:endParaRPr lang="pt-BR"/>
              </a:p>
            </p:txBody>
          </p:sp>
          <p:sp>
            <p:nvSpPr>
              <p:cNvPr id="595" name="Forma Livre: Forma 594">
                <a:extLst>
                  <a:ext uri="{FF2B5EF4-FFF2-40B4-BE49-F238E27FC236}">
                    <a16:creationId xmlns:a16="http://schemas.microsoft.com/office/drawing/2014/main" id="{F8887E51-A553-0083-F0C3-4347583FF86E}"/>
                  </a:ext>
                </a:extLst>
              </p:cNvPr>
              <p:cNvSpPr/>
              <p:nvPr/>
            </p:nvSpPr>
            <p:spPr>
              <a:xfrm>
                <a:off x="1457741" y="3883751"/>
                <a:ext cx="270803" cy="179660"/>
              </a:xfrm>
              <a:custGeom>
                <a:avLst/>
                <a:gdLst>
                  <a:gd name="connsiteX0" fmla="*/ 0 w 270803"/>
                  <a:gd name="connsiteY0" fmla="*/ 98435 h 179660"/>
                  <a:gd name="connsiteX1" fmla="*/ 64230 w 270803"/>
                  <a:gd name="connsiteY1" fmla="*/ 18970 h 179660"/>
                  <a:gd name="connsiteX2" fmla="*/ 113302 w 270803"/>
                  <a:gd name="connsiteY2" fmla="*/ 2817 h 179660"/>
                  <a:gd name="connsiteX3" fmla="*/ 245207 w 270803"/>
                  <a:gd name="connsiteY3" fmla="*/ 70568 h 179660"/>
                  <a:gd name="connsiteX4" fmla="*/ 268633 w 270803"/>
                  <a:gd name="connsiteY4" fmla="*/ 121172 h 179660"/>
                  <a:gd name="connsiteX5" fmla="*/ 251944 w 270803"/>
                  <a:gd name="connsiteY5" fmla="*/ 179660 h 17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03" h="179660">
                    <a:moveTo>
                      <a:pt x="0" y="98435"/>
                    </a:moveTo>
                    <a:lnTo>
                      <a:pt x="64230" y="18970"/>
                    </a:lnTo>
                    <a:cubicBezTo>
                      <a:pt x="74565" y="2434"/>
                      <a:pt x="95159" y="-4303"/>
                      <a:pt x="113302" y="2817"/>
                    </a:cubicBezTo>
                    <a:lnTo>
                      <a:pt x="245207" y="70568"/>
                    </a:lnTo>
                    <a:cubicBezTo>
                      <a:pt x="265265" y="78454"/>
                      <a:pt x="275600" y="100808"/>
                      <a:pt x="268633" y="121172"/>
                    </a:cubicBezTo>
                    <a:lnTo>
                      <a:pt x="251944" y="179660"/>
                    </a:lnTo>
                  </a:path>
                </a:pathLst>
              </a:custGeom>
              <a:noFill/>
              <a:ln w="19050" cap="rnd">
                <a:solidFill>
                  <a:srgbClr val="3C3C3C"/>
                </a:solidFill>
                <a:prstDash val="solid"/>
                <a:round/>
              </a:ln>
            </p:spPr>
            <p:txBody>
              <a:bodyPr rtlCol="0" anchor="ctr"/>
              <a:lstStyle/>
              <a:p>
                <a:pPr algn="r"/>
                <a:endParaRPr lang="pt-BR"/>
              </a:p>
            </p:txBody>
          </p:sp>
          <p:sp>
            <p:nvSpPr>
              <p:cNvPr id="596" name="Forma Livre: Forma 595">
                <a:extLst>
                  <a:ext uri="{FF2B5EF4-FFF2-40B4-BE49-F238E27FC236}">
                    <a16:creationId xmlns:a16="http://schemas.microsoft.com/office/drawing/2014/main" id="{669514DC-450A-1523-4F5C-D3299BCF9F02}"/>
                  </a:ext>
                </a:extLst>
              </p:cNvPr>
              <p:cNvSpPr/>
              <p:nvPr/>
            </p:nvSpPr>
            <p:spPr>
              <a:xfrm>
                <a:off x="1226926" y="4025440"/>
                <a:ext cx="166278" cy="35904"/>
              </a:xfrm>
              <a:custGeom>
                <a:avLst/>
                <a:gdLst>
                  <a:gd name="connsiteX0" fmla="*/ 0 w 166278"/>
                  <a:gd name="connsiteY0" fmla="*/ 34527 h 35904"/>
                  <a:gd name="connsiteX1" fmla="*/ 85513 w 166278"/>
                  <a:gd name="connsiteY1" fmla="*/ 35905 h 35904"/>
                  <a:gd name="connsiteX2" fmla="*/ 166279 w 166278"/>
                  <a:gd name="connsiteY2" fmla="*/ 0 h 35904"/>
                </a:gdLst>
                <a:ahLst/>
                <a:cxnLst>
                  <a:cxn ang="0">
                    <a:pos x="connsiteX0" y="connsiteY0"/>
                  </a:cxn>
                  <a:cxn ang="0">
                    <a:pos x="connsiteX1" y="connsiteY1"/>
                  </a:cxn>
                  <a:cxn ang="0">
                    <a:pos x="connsiteX2" y="connsiteY2"/>
                  </a:cxn>
                </a:cxnLst>
                <a:rect l="l" t="t" r="r" b="b"/>
                <a:pathLst>
                  <a:path w="166278" h="35904">
                    <a:moveTo>
                      <a:pt x="0" y="34527"/>
                    </a:moveTo>
                    <a:lnTo>
                      <a:pt x="85513" y="35905"/>
                    </a:lnTo>
                    <a:lnTo>
                      <a:pt x="166279" y="0"/>
                    </a:lnTo>
                  </a:path>
                </a:pathLst>
              </a:custGeom>
              <a:noFill/>
              <a:ln w="19050" cap="rnd">
                <a:solidFill>
                  <a:srgbClr val="3C3C3C"/>
                </a:solidFill>
                <a:prstDash val="solid"/>
                <a:round/>
              </a:ln>
            </p:spPr>
            <p:txBody>
              <a:bodyPr rtlCol="0" anchor="ctr"/>
              <a:lstStyle/>
              <a:p>
                <a:pPr algn="r"/>
                <a:endParaRPr lang="pt-BR"/>
              </a:p>
            </p:txBody>
          </p:sp>
          <p:sp>
            <p:nvSpPr>
              <p:cNvPr id="597" name="Forma Livre: Forma 596">
                <a:extLst>
                  <a:ext uri="{FF2B5EF4-FFF2-40B4-BE49-F238E27FC236}">
                    <a16:creationId xmlns:a16="http://schemas.microsoft.com/office/drawing/2014/main" id="{32DE776C-824E-9DCF-B7D0-593A516CC2FC}"/>
                  </a:ext>
                </a:extLst>
              </p:cNvPr>
              <p:cNvSpPr/>
              <p:nvPr/>
            </p:nvSpPr>
            <p:spPr>
              <a:xfrm>
                <a:off x="1335941" y="4255260"/>
                <a:ext cx="137799" cy="55808"/>
              </a:xfrm>
              <a:custGeom>
                <a:avLst/>
                <a:gdLst>
                  <a:gd name="connsiteX0" fmla="*/ 0 w 137799"/>
                  <a:gd name="connsiteY0" fmla="*/ 55809 h 55808"/>
                  <a:gd name="connsiteX1" fmla="*/ 58718 w 137799"/>
                  <a:gd name="connsiteY1" fmla="*/ 0 h 55808"/>
                  <a:gd name="connsiteX2" fmla="*/ 137800 w 137799"/>
                  <a:gd name="connsiteY2" fmla="*/ 33455 h 55808"/>
                </a:gdLst>
                <a:ahLst/>
                <a:cxnLst>
                  <a:cxn ang="0">
                    <a:pos x="connsiteX0" y="connsiteY0"/>
                  </a:cxn>
                  <a:cxn ang="0">
                    <a:pos x="connsiteX1" y="connsiteY1"/>
                  </a:cxn>
                  <a:cxn ang="0">
                    <a:pos x="connsiteX2" y="connsiteY2"/>
                  </a:cxn>
                </a:cxnLst>
                <a:rect l="l" t="t" r="r" b="b"/>
                <a:pathLst>
                  <a:path w="137799" h="55808">
                    <a:moveTo>
                      <a:pt x="0" y="55809"/>
                    </a:moveTo>
                    <a:lnTo>
                      <a:pt x="58718" y="0"/>
                    </a:lnTo>
                    <a:lnTo>
                      <a:pt x="137800" y="33455"/>
                    </a:lnTo>
                  </a:path>
                </a:pathLst>
              </a:custGeom>
              <a:noFill/>
              <a:ln w="19050" cap="rnd">
                <a:solidFill>
                  <a:srgbClr val="3C3C3C"/>
                </a:solidFill>
                <a:prstDash val="solid"/>
                <a:round/>
              </a:ln>
            </p:spPr>
            <p:txBody>
              <a:bodyPr rtlCol="0" anchor="ctr"/>
              <a:lstStyle/>
              <a:p>
                <a:pPr algn="r"/>
                <a:endParaRPr lang="pt-BR"/>
              </a:p>
            </p:txBody>
          </p:sp>
          <p:sp>
            <p:nvSpPr>
              <p:cNvPr id="598" name="Forma Livre: Forma 597">
                <a:extLst>
                  <a:ext uri="{FF2B5EF4-FFF2-40B4-BE49-F238E27FC236}">
                    <a16:creationId xmlns:a16="http://schemas.microsoft.com/office/drawing/2014/main" id="{EAFC0A9F-F121-A2F0-D218-9ADB785BD42D}"/>
                  </a:ext>
                </a:extLst>
              </p:cNvPr>
              <p:cNvSpPr/>
              <p:nvPr/>
            </p:nvSpPr>
            <p:spPr>
              <a:xfrm>
                <a:off x="1583752" y="4327528"/>
                <a:ext cx="44095" cy="38890"/>
              </a:xfrm>
              <a:custGeom>
                <a:avLst/>
                <a:gdLst>
                  <a:gd name="connsiteX0" fmla="*/ 44096 w 44095"/>
                  <a:gd name="connsiteY0" fmla="*/ 38890 h 38890"/>
                  <a:gd name="connsiteX1" fmla="*/ 0 w 44095"/>
                  <a:gd name="connsiteY1" fmla="*/ 0 h 38890"/>
                </a:gdLst>
                <a:ahLst/>
                <a:cxnLst>
                  <a:cxn ang="0">
                    <a:pos x="connsiteX0" y="connsiteY0"/>
                  </a:cxn>
                  <a:cxn ang="0">
                    <a:pos x="connsiteX1" y="connsiteY1"/>
                  </a:cxn>
                </a:cxnLst>
                <a:rect l="l" t="t" r="r" b="b"/>
                <a:pathLst>
                  <a:path w="44095" h="38890">
                    <a:moveTo>
                      <a:pt x="44096" y="38890"/>
                    </a:moveTo>
                    <a:lnTo>
                      <a:pt x="0" y="0"/>
                    </a:lnTo>
                  </a:path>
                </a:pathLst>
              </a:custGeom>
              <a:ln w="19050" cap="rnd">
                <a:solidFill>
                  <a:srgbClr val="3C3C3C"/>
                </a:solidFill>
                <a:prstDash val="solid"/>
                <a:round/>
              </a:ln>
            </p:spPr>
            <p:txBody>
              <a:bodyPr rtlCol="0" anchor="ctr"/>
              <a:lstStyle/>
              <a:p>
                <a:pPr algn="r"/>
                <a:endParaRPr lang="pt-BR"/>
              </a:p>
            </p:txBody>
          </p:sp>
          <p:sp>
            <p:nvSpPr>
              <p:cNvPr id="599" name="Forma Livre: Forma 598">
                <a:extLst>
                  <a:ext uri="{FF2B5EF4-FFF2-40B4-BE49-F238E27FC236}">
                    <a16:creationId xmlns:a16="http://schemas.microsoft.com/office/drawing/2014/main" id="{10A2C463-DBC8-420D-0D37-83DA092A98C2}"/>
                  </a:ext>
                </a:extLst>
              </p:cNvPr>
              <p:cNvSpPr/>
              <p:nvPr/>
            </p:nvSpPr>
            <p:spPr>
              <a:xfrm>
                <a:off x="1580843" y="3792328"/>
                <a:ext cx="79005" cy="79005"/>
              </a:xfrm>
              <a:custGeom>
                <a:avLst/>
                <a:gdLst>
                  <a:gd name="connsiteX0" fmla="*/ 39503 w 79005"/>
                  <a:gd name="connsiteY0" fmla="*/ 79005 h 79005"/>
                  <a:gd name="connsiteX1" fmla="*/ 0 w 79005"/>
                  <a:gd name="connsiteY1" fmla="*/ 39503 h 79005"/>
                  <a:gd name="connsiteX2" fmla="*/ 39503 w 79005"/>
                  <a:gd name="connsiteY2" fmla="*/ 0 h 79005"/>
                  <a:gd name="connsiteX3" fmla="*/ 79005 w 79005"/>
                  <a:gd name="connsiteY3" fmla="*/ 39503 h 79005"/>
                  <a:gd name="connsiteX4" fmla="*/ 39503 w 79005"/>
                  <a:gd name="connsiteY4" fmla="*/ 79005 h 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05" h="79005">
                    <a:moveTo>
                      <a:pt x="39503" y="79005"/>
                    </a:moveTo>
                    <a:cubicBezTo>
                      <a:pt x="33684" y="61168"/>
                      <a:pt x="17761" y="45321"/>
                      <a:pt x="0" y="39503"/>
                    </a:cubicBezTo>
                    <a:cubicBezTo>
                      <a:pt x="17837" y="33684"/>
                      <a:pt x="33684" y="17761"/>
                      <a:pt x="39503" y="0"/>
                    </a:cubicBezTo>
                    <a:cubicBezTo>
                      <a:pt x="45321" y="17761"/>
                      <a:pt x="61244" y="33684"/>
                      <a:pt x="79005" y="39503"/>
                    </a:cubicBezTo>
                    <a:cubicBezTo>
                      <a:pt x="61168" y="45321"/>
                      <a:pt x="45321" y="61244"/>
                      <a:pt x="39503" y="79005"/>
                    </a:cubicBezTo>
                    <a:close/>
                  </a:path>
                </a:pathLst>
              </a:custGeom>
              <a:noFill/>
              <a:ln w="19050" cap="rnd">
                <a:solidFill>
                  <a:srgbClr val="3C3C3C"/>
                </a:solidFill>
                <a:prstDash val="solid"/>
                <a:round/>
              </a:ln>
            </p:spPr>
            <p:txBody>
              <a:bodyPr rtlCol="0" anchor="ctr"/>
              <a:lstStyle/>
              <a:p>
                <a:pPr algn="r"/>
                <a:endParaRPr lang="pt-BR"/>
              </a:p>
            </p:txBody>
          </p:sp>
          <p:sp>
            <p:nvSpPr>
              <p:cNvPr id="600" name="Forma Livre: Forma 599">
                <a:extLst>
                  <a:ext uri="{FF2B5EF4-FFF2-40B4-BE49-F238E27FC236}">
                    <a16:creationId xmlns:a16="http://schemas.microsoft.com/office/drawing/2014/main" id="{246C532A-A6F3-1AB8-47FE-82731A5460A9}"/>
                  </a:ext>
                </a:extLst>
              </p:cNvPr>
              <p:cNvSpPr/>
              <p:nvPr/>
            </p:nvSpPr>
            <p:spPr>
              <a:xfrm>
                <a:off x="1662757" y="4082321"/>
                <a:ext cx="62316" cy="62316"/>
              </a:xfrm>
              <a:custGeom>
                <a:avLst/>
                <a:gdLst>
                  <a:gd name="connsiteX0" fmla="*/ 31158 w 62316"/>
                  <a:gd name="connsiteY0" fmla="*/ 62316 h 62316"/>
                  <a:gd name="connsiteX1" fmla="*/ 0 w 62316"/>
                  <a:gd name="connsiteY1" fmla="*/ 31158 h 62316"/>
                  <a:gd name="connsiteX2" fmla="*/ 31158 w 62316"/>
                  <a:gd name="connsiteY2" fmla="*/ 0 h 62316"/>
                  <a:gd name="connsiteX3" fmla="*/ 62316 w 62316"/>
                  <a:gd name="connsiteY3" fmla="*/ 31158 h 62316"/>
                  <a:gd name="connsiteX4" fmla="*/ 31158 w 62316"/>
                  <a:gd name="connsiteY4" fmla="*/ 62316 h 62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16" h="62316">
                    <a:moveTo>
                      <a:pt x="31158" y="62316"/>
                    </a:moveTo>
                    <a:cubicBezTo>
                      <a:pt x="26565" y="48307"/>
                      <a:pt x="14010" y="35751"/>
                      <a:pt x="0" y="31158"/>
                    </a:cubicBezTo>
                    <a:cubicBezTo>
                      <a:pt x="14010" y="26565"/>
                      <a:pt x="26565" y="14010"/>
                      <a:pt x="31158" y="0"/>
                    </a:cubicBezTo>
                    <a:cubicBezTo>
                      <a:pt x="35751" y="14010"/>
                      <a:pt x="48307" y="26565"/>
                      <a:pt x="62316" y="31158"/>
                    </a:cubicBezTo>
                    <a:cubicBezTo>
                      <a:pt x="48307" y="35751"/>
                      <a:pt x="35751" y="48307"/>
                      <a:pt x="31158" y="62316"/>
                    </a:cubicBezTo>
                    <a:close/>
                  </a:path>
                </a:pathLst>
              </a:custGeom>
              <a:noFill/>
              <a:ln w="19050" cap="rnd">
                <a:solidFill>
                  <a:srgbClr val="3C3C3C"/>
                </a:solidFill>
                <a:prstDash val="solid"/>
                <a:round/>
              </a:ln>
            </p:spPr>
            <p:txBody>
              <a:bodyPr rtlCol="0" anchor="ctr"/>
              <a:lstStyle/>
              <a:p>
                <a:pPr algn="r"/>
                <a:endParaRPr lang="pt-BR"/>
              </a:p>
            </p:txBody>
          </p:sp>
          <p:sp>
            <p:nvSpPr>
              <p:cNvPr id="601" name="Forma Livre: Forma 600">
                <a:extLst>
                  <a:ext uri="{FF2B5EF4-FFF2-40B4-BE49-F238E27FC236}">
                    <a16:creationId xmlns:a16="http://schemas.microsoft.com/office/drawing/2014/main" id="{289D845B-0F86-52F9-9294-6FD20534DED1}"/>
                  </a:ext>
                </a:extLst>
              </p:cNvPr>
              <p:cNvSpPr/>
              <p:nvPr/>
            </p:nvSpPr>
            <p:spPr>
              <a:xfrm>
                <a:off x="1560020" y="3971391"/>
                <a:ext cx="7655" cy="47464"/>
              </a:xfrm>
              <a:custGeom>
                <a:avLst/>
                <a:gdLst>
                  <a:gd name="connsiteX0" fmla="*/ 0 w 7655"/>
                  <a:gd name="connsiteY0" fmla="*/ 0 h 47464"/>
                  <a:gd name="connsiteX1" fmla="*/ 0 w 7655"/>
                  <a:gd name="connsiteY1" fmla="*/ 47464 h 47464"/>
                </a:gdLst>
                <a:ahLst/>
                <a:cxnLst>
                  <a:cxn ang="0">
                    <a:pos x="connsiteX0" y="connsiteY0"/>
                  </a:cxn>
                  <a:cxn ang="0">
                    <a:pos x="connsiteX1" y="connsiteY1"/>
                  </a:cxn>
                </a:cxnLst>
                <a:rect l="l" t="t" r="r" b="b"/>
                <a:pathLst>
                  <a:path w="7655" h="47464">
                    <a:moveTo>
                      <a:pt x="0" y="0"/>
                    </a:moveTo>
                    <a:lnTo>
                      <a:pt x="0" y="47464"/>
                    </a:lnTo>
                  </a:path>
                </a:pathLst>
              </a:custGeom>
              <a:ln w="19050" cap="rnd">
                <a:solidFill>
                  <a:srgbClr val="3C3C3C"/>
                </a:solidFill>
                <a:prstDash val="solid"/>
                <a:round/>
              </a:ln>
            </p:spPr>
            <p:txBody>
              <a:bodyPr rtlCol="0" anchor="ctr"/>
              <a:lstStyle/>
              <a:p>
                <a:pPr algn="r"/>
                <a:endParaRPr lang="pt-BR"/>
              </a:p>
            </p:txBody>
          </p:sp>
          <p:sp>
            <p:nvSpPr>
              <p:cNvPr id="602" name="Forma Livre: Forma 601">
                <a:extLst>
                  <a:ext uri="{FF2B5EF4-FFF2-40B4-BE49-F238E27FC236}">
                    <a16:creationId xmlns:a16="http://schemas.microsoft.com/office/drawing/2014/main" id="{D70FB574-C10B-A1B2-3606-CFDD7D461473}"/>
                  </a:ext>
                </a:extLst>
              </p:cNvPr>
              <p:cNvSpPr/>
              <p:nvPr/>
            </p:nvSpPr>
            <p:spPr>
              <a:xfrm>
                <a:off x="1536287" y="3995124"/>
                <a:ext cx="47464" cy="7655"/>
              </a:xfrm>
              <a:custGeom>
                <a:avLst/>
                <a:gdLst>
                  <a:gd name="connsiteX0" fmla="*/ 0 w 47464"/>
                  <a:gd name="connsiteY0" fmla="*/ 0 h 7655"/>
                  <a:gd name="connsiteX1" fmla="*/ 47464 w 47464"/>
                  <a:gd name="connsiteY1" fmla="*/ 0 h 7655"/>
                </a:gdLst>
                <a:ahLst/>
                <a:cxnLst>
                  <a:cxn ang="0">
                    <a:pos x="connsiteX0" y="connsiteY0"/>
                  </a:cxn>
                  <a:cxn ang="0">
                    <a:pos x="connsiteX1" y="connsiteY1"/>
                  </a:cxn>
                </a:cxnLst>
                <a:rect l="l" t="t" r="r" b="b"/>
                <a:pathLst>
                  <a:path w="47464" h="7655">
                    <a:moveTo>
                      <a:pt x="0" y="0"/>
                    </a:moveTo>
                    <a:lnTo>
                      <a:pt x="47464" y="0"/>
                    </a:lnTo>
                  </a:path>
                </a:pathLst>
              </a:custGeom>
              <a:ln w="19050" cap="rnd">
                <a:solidFill>
                  <a:srgbClr val="3C3C3C"/>
                </a:solidFill>
                <a:prstDash val="solid"/>
                <a:round/>
              </a:ln>
            </p:spPr>
            <p:txBody>
              <a:bodyPr rtlCol="0" anchor="ctr"/>
              <a:lstStyle/>
              <a:p>
                <a:pPr algn="r"/>
                <a:endParaRPr lang="pt-BR"/>
              </a:p>
            </p:txBody>
          </p:sp>
          <p:sp>
            <p:nvSpPr>
              <p:cNvPr id="603" name="Forma Livre: Forma 602">
                <a:extLst>
                  <a:ext uri="{FF2B5EF4-FFF2-40B4-BE49-F238E27FC236}">
                    <a16:creationId xmlns:a16="http://schemas.microsoft.com/office/drawing/2014/main" id="{2C5150A9-7937-681D-313D-089C211B7B6D}"/>
                  </a:ext>
                </a:extLst>
              </p:cNvPr>
              <p:cNvSpPr/>
              <p:nvPr/>
            </p:nvSpPr>
            <p:spPr>
              <a:xfrm>
                <a:off x="1560020" y="4162780"/>
                <a:ext cx="995" cy="52134"/>
              </a:xfrm>
              <a:custGeom>
                <a:avLst/>
                <a:gdLst>
                  <a:gd name="connsiteX0" fmla="*/ 995 w 995"/>
                  <a:gd name="connsiteY0" fmla="*/ 0 h 52134"/>
                  <a:gd name="connsiteX1" fmla="*/ 0 w 995"/>
                  <a:gd name="connsiteY1" fmla="*/ 52134 h 52134"/>
                </a:gdLst>
                <a:ahLst/>
                <a:cxnLst>
                  <a:cxn ang="0">
                    <a:pos x="connsiteX0" y="connsiteY0"/>
                  </a:cxn>
                  <a:cxn ang="0">
                    <a:pos x="connsiteX1" y="connsiteY1"/>
                  </a:cxn>
                </a:cxnLst>
                <a:rect l="l" t="t" r="r" b="b"/>
                <a:pathLst>
                  <a:path w="995" h="52134">
                    <a:moveTo>
                      <a:pt x="995" y="0"/>
                    </a:moveTo>
                    <a:lnTo>
                      <a:pt x="0" y="52134"/>
                    </a:lnTo>
                  </a:path>
                </a:pathLst>
              </a:custGeom>
              <a:ln w="19050" cap="rnd">
                <a:solidFill>
                  <a:srgbClr val="3C3C3C"/>
                </a:solidFill>
                <a:prstDash val="solid"/>
                <a:round/>
              </a:ln>
            </p:spPr>
            <p:txBody>
              <a:bodyPr rtlCol="0" anchor="ctr"/>
              <a:lstStyle/>
              <a:p>
                <a:pPr algn="r"/>
                <a:endParaRPr lang="pt-BR"/>
              </a:p>
            </p:txBody>
          </p:sp>
          <p:sp>
            <p:nvSpPr>
              <p:cNvPr id="604" name="Forma Livre: Forma 603">
                <a:extLst>
                  <a:ext uri="{FF2B5EF4-FFF2-40B4-BE49-F238E27FC236}">
                    <a16:creationId xmlns:a16="http://schemas.microsoft.com/office/drawing/2014/main" id="{ECAC5DBE-2B14-CC2E-8D3A-2CD005A2678D}"/>
                  </a:ext>
                </a:extLst>
              </p:cNvPr>
              <p:cNvSpPr/>
              <p:nvPr/>
            </p:nvSpPr>
            <p:spPr>
              <a:xfrm>
                <a:off x="1388305" y="4056368"/>
                <a:ext cx="114144" cy="141551"/>
              </a:xfrm>
              <a:custGeom>
                <a:avLst/>
                <a:gdLst>
                  <a:gd name="connsiteX0" fmla="*/ 114144 w 114144"/>
                  <a:gd name="connsiteY0" fmla="*/ 0 h 141551"/>
                  <a:gd name="connsiteX1" fmla="*/ 51369 w 114144"/>
                  <a:gd name="connsiteY1" fmla="*/ 44096 h 141551"/>
                  <a:gd name="connsiteX2" fmla="*/ 45091 w 114144"/>
                  <a:gd name="connsiteY2" fmla="*/ 120575 h 141551"/>
                  <a:gd name="connsiteX3" fmla="*/ 0 w 114144"/>
                  <a:gd name="connsiteY3" fmla="*/ 141551 h 141551"/>
                </a:gdLst>
                <a:ahLst/>
                <a:cxnLst>
                  <a:cxn ang="0">
                    <a:pos x="connsiteX0" y="connsiteY0"/>
                  </a:cxn>
                  <a:cxn ang="0">
                    <a:pos x="connsiteX1" y="connsiteY1"/>
                  </a:cxn>
                  <a:cxn ang="0">
                    <a:pos x="connsiteX2" y="connsiteY2"/>
                  </a:cxn>
                  <a:cxn ang="0">
                    <a:pos x="connsiteX3" y="connsiteY3"/>
                  </a:cxn>
                </a:cxnLst>
                <a:rect l="l" t="t" r="r" b="b"/>
                <a:pathLst>
                  <a:path w="114144" h="141551">
                    <a:moveTo>
                      <a:pt x="114144" y="0"/>
                    </a:moveTo>
                    <a:lnTo>
                      <a:pt x="51369" y="44096"/>
                    </a:lnTo>
                    <a:lnTo>
                      <a:pt x="45091" y="120575"/>
                    </a:lnTo>
                    <a:lnTo>
                      <a:pt x="0" y="141551"/>
                    </a:lnTo>
                  </a:path>
                </a:pathLst>
              </a:custGeom>
              <a:noFill/>
              <a:ln w="19050" cap="rnd">
                <a:solidFill>
                  <a:srgbClr val="3C3C3C"/>
                </a:solidFill>
                <a:prstDash val="solid"/>
                <a:round/>
              </a:ln>
            </p:spPr>
            <p:txBody>
              <a:bodyPr rtlCol="0" anchor="ctr"/>
              <a:lstStyle/>
              <a:p>
                <a:pPr algn="r"/>
                <a:endParaRPr lang="pt-BR"/>
              </a:p>
            </p:txBody>
          </p:sp>
          <p:sp>
            <p:nvSpPr>
              <p:cNvPr id="605" name="Forma Livre: Forma 604">
                <a:extLst>
                  <a:ext uri="{FF2B5EF4-FFF2-40B4-BE49-F238E27FC236}">
                    <a16:creationId xmlns:a16="http://schemas.microsoft.com/office/drawing/2014/main" id="{2DBFFAC2-047E-075B-500A-49427B60F5C2}"/>
                  </a:ext>
                </a:extLst>
              </p:cNvPr>
              <p:cNvSpPr/>
              <p:nvPr/>
            </p:nvSpPr>
            <p:spPr>
              <a:xfrm>
                <a:off x="1392439" y="4100464"/>
                <a:ext cx="47234" cy="7655"/>
              </a:xfrm>
              <a:custGeom>
                <a:avLst/>
                <a:gdLst>
                  <a:gd name="connsiteX0" fmla="*/ 47235 w 47234"/>
                  <a:gd name="connsiteY0" fmla="*/ 0 h 7655"/>
                  <a:gd name="connsiteX1" fmla="*/ 0 w 47234"/>
                  <a:gd name="connsiteY1" fmla="*/ 7656 h 7655"/>
                </a:gdLst>
                <a:ahLst/>
                <a:cxnLst>
                  <a:cxn ang="0">
                    <a:pos x="connsiteX0" y="connsiteY0"/>
                  </a:cxn>
                  <a:cxn ang="0">
                    <a:pos x="connsiteX1" y="connsiteY1"/>
                  </a:cxn>
                </a:cxnLst>
                <a:rect l="l" t="t" r="r" b="b"/>
                <a:pathLst>
                  <a:path w="47234" h="7655">
                    <a:moveTo>
                      <a:pt x="47235" y="0"/>
                    </a:moveTo>
                    <a:lnTo>
                      <a:pt x="0" y="7656"/>
                    </a:lnTo>
                  </a:path>
                </a:pathLst>
              </a:custGeom>
              <a:ln w="19050" cap="rnd">
                <a:solidFill>
                  <a:srgbClr val="3C3C3C"/>
                </a:solidFill>
                <a:prstDash val="solid"/>
                <a:round/>
              </a:ln>
            </p:spPr>
            <p:txBody>
              <a:bodyPr rtlCol="0" anchor="ctr"/>
              <a:lstStyle/>
              <a:p>
                <a:pPr algn="r"/>
                <a:endParaRPr lang="pt-BR"/>
              </a:p>
            </p:txBody>
          </p:sp>
          <p:sp>
            <p:nvSpPr>
              <p:cNvPr id="609" name="Forma Livre: Forma 608">
                <a:extLst>
                  <a:ext uri="{FF2B5EF4-FFF2-40B4-BE49-F238E27FC236}">
                    <a16:creationId xmlns:a16="http://schemas.microsoft.com/office/drawing/2014/main" id="{8C642808-F24D-B7BE-3199-397354B2E525}"/>
                  </a:ext>
                </a:extLst>
              </p:cNvPr>
              <p:cNvSpPr/>
              <p:nvPr/>
            </p:nvSpPr>
            <p:spPr>
              <a:xfrm>
                <a:off x="1331118" y="4135374"/>
                <a:ext cx="33071" cy="37741"/>
              </a:xfrm>
              <a:custGeom>
                <a:avLst/>
                <a:gdLst>
                  <a:gd name="connsiteX0" fmla="*/ 33072 w 33071"/>
                  <a:gd name="connsiteY0" fmla="*/ 0 h 37741"/>
                  <a:gd name="connsiteX1" fmla="*/ 0 w 33071"/>
                  <a:gd name="connsiteY1" fmla="*/ 37742 h 37741"/>
                </a:gdLst>
                <a:ahLst/>
                <a:cxnLst>
                  <a:cxn ang="0">
                    <a:pos x="connsiteX0" y="connsiteY0"/>
                  </a:cxn>
                  <a:cxn ang="0">
                    <a:pos x="connsiteX1" y="connsiteY1"/>
                  </a:cxn>
                </a:cxnLst>
                <a:rect l="l" t="t" r="r" b="b"/>
                <a:pathLst>
                  <a:path w="33071" h="37741">
                    <a:moveTo>
                      <a:pt x="33072" y="0"/>
                    </a:moveTo>
                    <a:lnTo>
                      <a:pt x="0" y="37742"/>
                    </a:lnTo>
                  </a:path>
                </a:pathLst>
              </a:custGeom>
              <a:ln w="19050" cap="rnd">
                <a:solidFill>
                  <a:srgbClr val="3C3C3C"/>
                </a:solidFill>
                <a:prstDash val="solid"/>
                <a:round/>
              </a:ln>
            </p:spPr>
            <p:txBody>
              <a:bodyPr rtlCol="0" anchor="ctr"/>
              <a:lstStyle/>
              <a:p>
                <a:pPr algn="r"/>
                <a:endParaRPr lang="pt-BR"/>
              </a:p>
            </p:txBody>
          </p:sp>
          <p:sp>
            <p:nvSpPr>
              <p:cNvPr id="610" name="Forma Livre: Forma 609">
                <a:extLst>
                  <a:ext uri="{FF2B5EF4-FFF2-40B4-BE49-F238E27FC236}">
                    <a16:creationId xmlns:a16="http://schemas.microsoft.com/office/drawing/2014/main" id="{D5705788-F275-9EA6-545F-7620389766AC}"/>
                  </a:ext>
                </a:extLst>
              </p:cNvPr>
              <p:cNvSpPr/>
              <p:nvPr/>
            </p:nvSpPr>
            <p:spPr>
              <a:xfrm>
                <a:off x="1750566" y="3904941"/>
                <a:ext cx="7655" cy="44019"/>
              </a:xfrm>
              <a:custGeom>
                <a:avLst/>
                <a:gdLst>
                  <a:gd name="connsiteX0" fmla="*/ 0 w 7655"/>
                  <a:gd name="connsiteY0" fmla="*/ 0 h 44019"/>
                  <a:gd name="connsiteX1" fmla="*/ 0 w 7655"/>
                  <a:gd name="connsiteY1" fmla="*/ 44019 h 44019"/>
                </a:gdLst>
                <a:ahLst/>
                <a:cxnLst>
                  <a:cxn ang="0">
                    <a:pos x="connsiteX0" y="connsiteY0"/>
                  </a:cxn>
                  <a:cxn ang="0">
                    <a:pos x="connsiteX1" y="connsiteY1"/>
                  </a:cxn>
                </a:cxnLst>
                <a:rect l="l" t="t" r="r" b="b"/>
                <a:pathLst>
                  <a:path w="7655" h="44019">
                    <a:moveTo>
                      <a:pt x="0" y="0"/>
                    </a:moveTo>
                    <a:lnTo>
                      <a:pt x="0" y="44019"/>
                    </a:lnTo>
                  </a:path>
                </a:pathLst>
              </a:custGeom>
              <a:ln w="19050" cap="rnd">
                <a:solidFill>
                  <a:srgbClr val="3C3C3C"/>
                </a:solidFill>
                <a:prstDash val="solid"/>
                <a:round/>
              </a:ln>
            </p:spPr>
            <p:txBody>
              <a:bodyPr rtlCol="0" anchor="ctr"/>
              <a:lstStyle/>
              <a:p>
                <a:pPr algn="r"/>
                <a:endParaRPr lang="pt-BR"/>
              </a:p>
            </p:txBody>
          </p:sp>
          <p:sp>
            <p:nvSpPr>
              <p:cNvPr id="613" name="Forma Livre: Forma 612">
                <a:extLst>
                  <a:ext uri="{FF2B5EF4-FFF2-40B4-BE49-F238E27FC236}">
                    <a16:creationId xmlns:a16="http://schemas.microsoft.com/office/drawing/2014/main" id="{976B1A8F-8CC4-8F7C-1F74-F48816FD1FEE}"/>
                  </a:ext>
                </a:extLst>
              </p:cNvPr>
              <p:cNvSpPr/>
              <p:nvPr/>
            </p:nvSpPr>
            <p:spPr>
              <a:xfrm>
                <a:off x="1728595" y="3926989"/>
                <a:ext cx="44019" cy="7655"/>
              </a:xfrm>
              <a:custGeom>
                <a:avLst/>
                <a:gdLst>
                  <a:gd name="connsiteX0" fmla="*/ 0 w 44019"/>
                  <a:gd name="connsiteY0" fmla="*/ 0 h 7655"/>
                  <a:gd name="connsiteX1" fmla="*/ 44019 w 44019"/>
                  <a:gd name="connsiteY1" fmla="*/ 0 h 7655"/>
                </a:gdLst>
                <a:ahLst/>
                <a:cxnLst>
                  <a:cxn ang="0">
                    <a:pos x="connsiteX0" y="connsiteY0"/>
                  </a:cxn>
                  <a:cxn ang="0">
                    <a:pos x="connsiteX1" y="connsiteY1"/>
                  </a:cxn>
                </a:cxnLst>
                <a:rect l="l" t="t" r="r" b="b"/>
                <a:pathLst>
                  <a:path w="44019" h="7655">
                    <a:moveTo>
                      <a:pt x="0" y="0"/>
                    </a:moveTo>
                    <a:lnTo>
                      <a:pt x="44019" y="0"/>
                    </a:lnTo>
                  </a:path>
                </a:pathLst>
              </a:custGeom>
              <a:ln w="19050" cap="rnd">
                <a:solidFill>
                  <a:srgbClr val="3C3C3C"/>
                </a:solidFill>
                <a:prstDash val="solid"/>
                <a:round/>
              </a:ln>
            </p:spPr>
            <p:txBody>
              <a:bodyPr rtlCol="0" anchor="ctr"/>
              <a:lstStyle/>
              <a:p>
                <a:pPr algn="r"/>
                <a:endParaRPr lang="pt-BR"/>
              </a:p>
            </p:txBody>
          </p:sp>
        </p:grpSp>
        <p:cxnSp>
          <p:nvCxnSpPr>
            <p:cNvPr id="632" name="Conector reto 631">
              <a:extLst>
                <a:ext uri="{FF2B5EF4-FFF2-40B4-BE49-F238E27FC236}">
                  <a16:creationId xmlns:a16="http://schemas.microsoft.com/office/drawing/2014/main" id="{14832DC6-B071-59B4-381A-CCDBDDB8AB45}"/>
                </a:ext>
              </a:extLst>
            </p:cNvPr>
            <p:cNvCxnSpPr>
              <a:cxnSpLocks/>
            </p:cNvCxnSpPr>
            <p:nvPr/>
          </p:nvCxnSpPr>
          <p:spPr>
            <a:xfrm>
              <a:off x="1278862" y="4436688"/>
              <a:ext cx="402431" cy="0"/>
            </a:xfrm>
            <a:prstGeom prst="line">
              <a:avLst/>
            </a:prstGeom>
            <a:ln w="34925">
              <a:solidFill>
                <a:srgbClr val="FF5000"/>
              </a:solidFill>
            </a:ln>
          </p:spPr>
          <p:style>
            <a:lnRef idx="1">
              <a:schemeClr val="accent1"/>
            </a:lnRef>
            <a:fillRef idx="0">
              <a:schemeClr val="accent1"/>
            </a:fillRef>
            <a:effectRef idx="0">
              <a:schemeClr val="accent1"/>
            </a:effectRef>
            <a:fontRef idx="minor">
              <a:schemeClr val="tx1"/>
            </a:fontRef>
          </p:style>
        </p:cxnSp>
      </p:grpSp>
      <p:sp>
        <p:nvSpPr>
          <p:cNvPr id="853" name="CuadroTexto 1">
            <a:extLst>
              <a:ext uri="{FF2B5EF4-FFF2-40B4-BE49-F238E27FC236}">
                <a16:creationId xmlns:a16="http://schemas.microsoft.com/office/drawing/2014/main" id="{A265E5E2-E70F-C777-0505-B2785E5AB144}"/>
              </a:ext>
            </a:extLst>
          </p:cNvPr>
          <p:cNvSpPr txBox="1"/>
          <p:nvPr/>
        </p:nvSpPr>
        <p:spPr>
          <a:xfrm>
            <a:off x="8646542" y="8853158"/>
            <a:ext cx="1526808" cy="400110"/>
          </a:xfrm>
          <a:prstGeom prst="rect">
            <a:avLst/>
          </a:prstGeom>
          <a:noFill/>
        </p:spPr>
        <p:txBody>
          <a:bodyPr wrap="square" rtlCol="0">
            <a:spAutoFit/>
          </a:bodyPr>
          <a:lstStyle>
            <a:defPPr>
              <a:defRPr lang="pt-BR"/>
            </a:defPPr>
            <a:lvl1pPr>
              <a:spcAft>
                <a:spcPts val="2400"/>
              </a:spcAft>
              <a:defRPr sz="2400">
                <a:solidFill>
                  <a:srgbClr val="3C3C3C"/>
                </a:solidFill>
                <a:latin typeface="Votorantim Sans" panose="02010503030202050203" pitchFamily="2" charset="0"/>
              </a:defRPr>
            </a:lvl1pPr>
          </a:lstStyle>
          <a:p>
            <a:pPr eaLnBrk="1" hangingPunct="1">
              <a:spcAft>
                <a:spcPts val="5400"/>
              </a:spcAft>
            </a:pPr>
            <a:r>
              <a:rPr lang="en-US" altLang="en-US" sz="2000" dirty="0" err="1">
                <a:latin typeface="Votorantim Sans" panose="020B0604020202020204" charset="0"/>
              </a:rPr>
              <a:t>Metalurgia</a:t>
            </a:r>
            <a:endParaRPr lang="en-US" altLang="en-US" sz="2000" dirty="0">
              <a:latin typeface="Votorantim Sans" panose="020B0604020202020204" charset="0"/>
            </a:endParaRPr>
          </a:p>
        </p:txBody>
      </p:sp>
      <p:sp>
        <p:nvSpPr>
          <p:cNvPr id="854" name="CuadroTexto 1">
            <a:extLst>
              <a:ext uri="{FF2B5EF4-FFF2-40B4-BE49-F238E27FC236}">
                <a16:creationId xmlns:a16="http://schemas.microsoft.com/office/drawing/2014/main" id="{55E1948B-A137-BFF9-B44B-AB6CFF241ECB}"/>
              </a:ext>
            </a:extLst>
          </p:cNvPr>
          <p:cNvSpPr txBox="1"/>
          <p:nvPr/>
        </p:nvSpPr>
        <p:spPr>
          <a:xfrm>
            <a:off x="4678696" y="8853158"/>
            <a:ext cx="3606159" cy="400110"/>
          </a:xfrm>
          <a:prstGeom prst="rect">
            <a:avLst/>
          </a:prstGeom>
          <a:noFill/>
        </p:spPr>
        <p:txBody>
          <a:bodyPr wrap="square" rtlCol="0">
            <a:spAutoFit/>
          </a:bodyPr>
          <a:lstStyle>
            <a:defPPr>
              <a:defRPr lang="pt-BR"/>
            </a:defPPr>
            <a:lvl1pPr>
              <a:spcAft>
                <a:spcPts val="2400"/>
              </a:spcAft>
              <a:defRPr sz="2400">
                <a:solidFill>
                  <a:srgbClr val="3C3C3C"/>
                </a:solidFill>
                <a:latin typeface="Votorantim Sans" panose="02010503030202050203" pitchFamily="2" charset="0"/>
              </a:defRPr>
            </a:lvl1pPr>
          </a:lstStyle>
          <a:p>
            <a:pPr eaLnBrk="1" hangingPunct="1">
              <a:spcAft>
                <a:spcPts val="5400"/>
              </a:spcAft>
            </a:pPr>
            <a:r>
              <a:rPr lang="en-US" altLang="en-US" sz="2000" dirty="0" err="1">
                <a:latin typeface="Votorantim Sans" panose="020B0604020202020204" charset="0"/>
              </a:rPr>
              <a:t>Minería</a:t>
            </a:r>
            <a:r>
              <a:rPr lang="en-US" altLang="en-US" sz="2000" dirty="0">
                <a:latin typeface="Votorantim Sans" panose="020B0604020202020204" charset="0"/>
              </a:rPr>
              <a:t> y </a:t>
            </a:r>
            <a:r>
              <a:rPr lang="en-US" altLang="en-US" sz="2000" dirty="0" err="1">
                <a:latin typeface="Votorantim Sans" panose="020B0604020202020204" charset="0"/>
              </a:rPr>
              <a:t>beneficio</a:t>
            </a:r>
            <a:endParaRPr lang="en-US" altLang="en-US" sz="2000" dirty="0">
              <a:latin typeface="Votorantim Sans" panose="020B0604020202020204" charset="0"/>
            </a:endParaRPr>
          </a:p>
        </p:txBody>
      </p:sp>
      <p:sp>
        <p:nvSpPr>
          <p:cNvPr id="855" name="CuadroTexto 1">
            <a:extLst>
              <a:ext uri="{FF2B5EF4-FFF2-40B4-BE49-F238E27FC236}">
                <a16:creationId xmlns:a16="http://schemas.microsoft.com/office/drawing/2014/main" id="{C70659C8-5E0E-8A9A-349C-63997D134CEA}"/>
              </a:ext>
            </a:extLst>
          </p:cNvPr>
          <p:cNvSpPr txBox="1"/>
          <p:nvPr/>
        </p:nvSpPr>
        <p:spPr>
          <a:xfrm>
            <a:off x="10766352" y="8871757"/>
            <a:ext cx="1381229" cy="400110"/>
          </a:xfrm>
          <a:prstGeom prst="rect">
            <a:avLst/>
          </a:prstGeom>
          <a:noFill/>
        </p:spPr>
        <p:txBody>
          <a:bodyPr wrap="square" rtlCol="0">
            <a:spAutoFit/>
          </a:bodyPr>
          <a:lstStyle>
            <a:defPPr>
              <a:defRPr lang="pt-BR"/>
            </a:defPPr>
            <a:lvl1pPr>
              <a:spcAft>
                <a:spcPts val="2400"/>
              </a:spcAft>
              <a:defRPr sz="2400">
                <a:solidFill>
                  <a:srgbClr val="3C3C3C"/>
                </a:solidFill>
                <a:latin typeface="Votorantim Sans" panose="02010503030202050203" pitchFamily="2" charset="0"/>
              </a:defRPr>
            </a:lvl1pPr>
          </a:lstStyle>
          <a:p>
            <a:pPr eaLnBrk="1" hangingPunct="1">
              <a:spcAft>
                <a:spcPts val="5400"/>
              </a:spcAft>
            </a:pPr>
            <a:r>
              <a:rPr lang="en-US" altLang="en-US" sz="2000" dirty="0">
                <a:latin typeface="Votorantim Sans" panose="020B0604020202020204" charset="0"/>
              </a:rPr>
              <a:t>Oficina</a:t>
            </a:r>
          </a:p>
        </p:txBody>
      </p:sp>
      <p:sp>
        <p:nvSpPr>
          <p:cNvPr id="579" name="Forma Livre: Forma 578">
            <a:extLst>
              <a:ext uri="{FF2B5EF4-FFF2-40B4-BE49-F238E27FC236}">
                <a16:creationId xmlns:a16="http://schemas.microsoft.com/office/drawing/2014/main" id="{55779258-132F-2BAA-8DF6-6352F789D4EE}"/>
              </a:ext>
            </a:extLst>
          </p:cNvPr>
          <p:cNvSpPr/>
          <p:nvPr/>
        </p:nvSpPr>
        <p:spPr>
          <a:xfrm>
            <a:off x="9257219" y="2863434"/>
            <a:ext cx="4908853" cy="5054671"/>
          </a:xfrm>
          <a:custGeom>
            <a:avLst/>
            <a:gdLst>
              <a:gd name="connsiteX0" fmla="*/ 705675 w 1326536"/>
              <a:gd name="connsiteY0" fmla="*/ 1350619 h 1365941"/>
              <a:gd name="connsiteX1" fmla="*/ 730967 w 1326536"/>
              <a:gd name="connsiteY1" fmla="*/ 1308988 h 1365941"/>
              <a:gd name="connsiteX2" fmla="*/ 748875 w 1326536"/>
              <a:gd name="connsiteY2" fmla="*/ 1268004 h 1365941"/>
              <a:gd name="connsiteX3" fmla="*/ 766783 w 1326536"/>
              <a:gd name="connsiteY3" fmla="*/ 1232281 h 1365941"/>
              <a:gd name="connsiteX4" fmla="*/ 767521 w 1326536"/>
              <a:gd name="connsiteY4" fmla="*/ 1262742 h 1365941"/>
              <a:gd name="connsiteX5" fmla="*/ 769737 w 1326536"/>
              <a:gd name="connsiteY5" fmla="*/ 1273912 h 1365941"/>
              <a:gd name="connsiteX6" fmla="*/ 812937 w 1326536"/>
              <a:gd name="connsiteY6" fmla="*/ 1208373 h 1365941"/>
              <a:gd name="connsiteX7" fmla="*/ 846444 w 1326536"/>
              <a:gd name="connsiteY7" fmla="*/ 1172650 h 1365941"/>
              <a:gd name="connsiteX8" fmla="*/ 856136 w 1326536"/>
              <a:gd name="connsiteY8" fmla="*/ 1124281 h 1365941"/>
              <a:gd name="connsiteX9" fmla="*/ 856875 w 1326536"/>
              <a:gd name="connsiteY9" fmla="*/ 1074435 h 1365941"/>
              <a:gd name="connsiteX10" fmla="*/ 867306 w 1326536"/>
              <a:gd name="connsiteY10" fmla="*/ 1049881 h 1365941"/>
              <a:gd name="connsiteX11" fmla="*/ 909767 w 1326536"/>
              <a:gd name="connsiteY11" fmla="*/ 1017850 h 1365941"/>
              <a:gd name="connsiteX12" fmla="*/ 953706 w 1326536"/>
              <a:gd name="connsiteY12" fmla="*/ 998465 h 1365941"/>
              <a:gd name="connsiteX13" fmla="*/ 972352 w 1326536"/>
              <a:gd name="connsiteY13" fmla="*/ 988035 h 1365941"/>
              <a:gd name="connsiteX14" fmla="*/ 998383 w 1326536"/>
              <a:gd name="connsiteY14" fmla="*/ 967911 h 1365941"/>
              <a:gd name="connsiteX15" fmla="*/ 1054229 w 1326536"/>
              <a:gd name="connsiteY15" fmla="*/ 968650 h 1365941"/>
              <a:gd name="connsiteX16" fmla="*/ 1084044 w 1326536"/>
              <a:gd name="connsiteY16" fmla="*/ 958957 h 1365941"/>
              <a:gd name="connsiteX17" fmla="*/ 1102690 w 1326536"/>
              <a:gd name="connsiteY17" fmla="*/ 938834 h 1365941"/>
              <a:gd name="connsiteX18" fmla="*/ 1117552 w 1326536"/>
              <a:gd name="connsiteY18" fmla="*/ 921019 h 1365941"/>
              <a:gd name="connsiteX19" fmla="*/ 1130937 w 1326536"/>
              <a:gd name="connsiteY19" fmla="*/ 890465 h 1365941"/>
              <a:gd name="connsiteX20" fmla="*/ 1144321 w 1326536"/>
              <a:gd name="connsiteY20" fmla="*/ 859173 h 1365941"/>
              <a:gd name="connsiteX21" fmla="*/ 1156967 w 1326536"/>
              <a:gd name="connsiteY21" fmla="*/ 841265 h 1365941"/>
              <a:gd name="connsiteX22" fmla="*/ 1162136 w 1326536"/>
              <a:gd name="connsiteY22" fmla="*/ 800281 h 1365941"/>
              <a:gd name="connsiteX23" fmla="*/ 1179213 w 1326536"/>
              <a:gd name="connsiteY23" fmla="*/ 782373 h 1365941"/>
              <a:gd name="connsiteX24" fmla="*/ 1182906 w 1326536"/>
              <a:gd name="connsiteY24" fmla="*/ 740650 h 1365941"/>
              <a:gd name="connsiteX25" fmla="*/ 1182906 w 1326536"/>
              <a:gd name="connsiteY25" fmla="*/ 675111 h 1365941"/>
              <a:gd name="connsiteX26" fmla="*/ 1190382 w 1326536"/>
              <a:gd name="connsiteY26" fmla="*/ 626004 h 1365941"/>
              <a:gd name="connsiteX27" fmla="*/ 1188167 w 1326536"/>
              <a:gd name="connsiteY27" fmla="*/ 612619 h 1365941"/>
              <a:gd name="connsiteX28" fmla="*/ 1194075 w 1326536"/>
              <a:gd name="connsiteY28" fmla="*/ 602927 h 1365941"/>
              <a:gd name="connsiteX29" fmla="*/ 1214936 w 1326536"/>
              <a:gd name="connsiteY29" fmla="*/ 609665 h 1365941"/>
              <a:gd name="connsiteX30" fmla="*/ 1241706 w 1326536"/>
              <a:gd name="connsiteY30" fmla="*/ 557512 h 1365941"/>
              <a:gd name="connsiteX31" fmla="*/ 1273737 w 1326536"/>
              <a:gd name="connsiteY31" fmla="*/ 532958 h 1365941"/>
              <a:gd name="connsiteX32" fmla="*/ 1320629 w 1326536"/>
              <a:gd name="connsiteY32" fmla="*/ 466681 h 1365941"/>
              <a:gd name="connsiteX33" fmla="*/ 1313890 w 1326536"/>
              <a:gd name="connsiteY33" fmla="*/ 369204 h 1365941"/>
              <a:gd name="connsiteX34" fmla="*/ 1284906 w 1326536"/>
              <a:gd name="connsiteY34" fmla="*/ 349819 h 1365941"/>
              <a:gd name="connsiteX35" fmla="*/ 1204506 w 1326536"/>
              <a:gd name="connsiteY35" fmla="*/ 306619 h 1365941"/>
              <a:gd name="connsiteX36" fmla="*/ 1106290 w 1326536"/>
              <a:gd name="connsiteY36" fmla="*/ 276066 h 1365941"/>
              <a:gd name="connsiteX37" fmla="*/ 1040013 w 1326536"/>
              <a:gd name="connsiteY37" fmla="*/ 260466 h 1365941"/>
              <a:gd name="connsiteX38" fmla="*/ 996075 w 1326536"/>
              <a:gd name="connsiteY38" fmla="*/ 282066 h 1365941"/>
              <a:gd name="connsiteX39" fmla="*/ 1002813 w 1326536"/>
              <a:gd name="connsiteY39" fmla="*/ 250035 h 1365941"/>
              <a:gd name="connsiteX40" fmla="*/ 923890 w 1326536"/>
              <a:gd name="connsiteY40" fmla="*/ 202404 h 1365941"/>
              <a:gd name="connsiteX41" fmla="*/ 874783 w 1326536"/>
              <a:gd name="connsiteY41" fmla="*/ 217266 h 1365941"/>
              <a:gd name="connsiteX42" fmla="*/ 850967 w 1326536"/>
              <a:gd name="connsiteY42" fmla="*/ 233604 h 1365941"/>
              <a:gd name="connsiteX43" fmla="*/ 833890 w 1326536"/>
              <a:gd name="connsiteY43" fmla="*/ 234342 h 1365941"/>
              <a:gd name="connsiteX44" fmla="*/ 862875 w 1326536"/>
              <a:gd name="connsiteY44" fmla="*/ 195666 h 1365941"/>
              <a:gd name="connsiteX45" fmla="*/ 795121 w 1326536"/>
              <a:gd name="connsiteY45" fmla="*/ 177758 h 1365941"/>
              <a:gd name="connsiteX46" fmla="*/ 773521 w 1326536"/>
              <a:gd name="connsiteY46" fmla="*/ 203789 h 1365941"/>
              <a:gd name="connsiteX47" fmla="*/ 782475 w 1326536"/>
              <a:gd name="connsiteY47" fmla="*/ 176189 h 1365941"/>
              <a:gd name="connsiteX48" fmla="*/ 815983 w 1326536"/>
              <a:gd name="connsiteY48" fmla="*/ 134558 h 1365941"/>
              <a:gd name="connsiteX49" fmla="*/ 788475 w 1326536"/>
              <a:gd name="connsiteY49" fmla="*/ 98835 h 1365941"/>
              <a:gd name="connsiteX50" fmla="*/ 764383 w 1326536"/>
              <a:gd name="connsiteY50" fmla="*/ 34404 h 1365941"/>
              <a:gd name="connsiteX51" fmla="*/ 724690 w 1326536"/>
              <a:gd name="connsiteY51" fmla="*/ 87943 h 1365941"/>
              <a:gd name="connsiteX52" fmla="*/ 689429 w 1326536"/>
              <a:gd name="connsiteY52" fmla="*/ 103081 h 1365941"/>
              <a:gd name="connsiteX53" fmla="*/ 656198 w 1326536"/>
              <a:gd name="connsiteY53" fmla="*/ 93019 h 1365941"/>
              <a:gd name="connsiteX54" fmla="*/ 618906 w 1326536"/>
              <a:gd name="connsiteY54" fmla="*/ 92004 h 1365941"/>
              <a:gd name="connsiteX55" fmla="*/ 604783 w 1326536"/>
              <a:gd name="connsiteY55" fmla="*/ 113143 h 1365941"/>
              <a:gd name="connsiteX56" fmla="*/ 564444 w 1326536"/>
              <a:gd name="connsiteY56" fmla="*/ 112127 h 1365941"/>
              <a:gd name="connsiteX57" fmla="*/ 547275 w 1326536"/>
              <a:gd name="connsiteY57" fmla="*/ 120158 h 1365941"/>
              <a:gd name="connsiteX58" fmla="*/ 525121 w 1326536"/>
              <a:gd name="connsiteY58" fmla="*/ 128189 h 1365941"/>
              <a:gd name="connsiteX59" fmla="*/ 488844 w 1326536"/>
              <a:gd name="connsiteY59" fmla="*/ 116096 h 1365941"/>
              <a:gd name="connsiteX60" fmla="*/ 481829 w 1326536"/>
              <a:gd name="connsiteY60" fmla="*/ 56650 h 1365941"/>
              <a:gd name="connsiteX61" fmla="*/ 478783 w 1326536"/>
              <a:gd name="connsiteY61" fmla="*/ 28404 h 1365941"/>
              <a:gd name="connsiteX62" fmla="*/ 464660 w 1326536"/>
              <a:gd name="connsiteY62" fmla="*/ 158 h 1365941"/>
              <a:gd name="connsiteX63" fmla="*/ 443521 w 1326536"/>
              <a:gd name="connsiteY63" fmla="*/ 19266 h 1365941"/>
              <a:gd name="connsiteX64" fmla="*/ 402167 w 1326536"/>
              <a:gd name="connsiteY64" fmla="*/ 35419 h 1365941"/>
              <a:gd name="connsiteX65" fmla="*/ 378998 w 1326536"/>
              <a:gd name="connsiteY65" fmla="*/ 48527 h 1365941"/>
              <a:gd name="connsiteX66" fmla="*/ 365891 w 1326536"/>
              <a:gd name="connsiteY66" fmla="*/ 47512 h 1365941"/>
              <a:gd name="connsiteX67" fmla="*/ 336629 w 1326536"/>
              <a:gd name="connsiteY67" fmla="*/ 37450 h 1365941"/>
              <a:gd name="connsiteX68" fmla="*/ 314475 w 1326536"/>
              <a:gd name="connsiteY68" fmla="*/ 41512 h 1365941"/>
              <a:gd name="connsiteX69" fmla="*/ 327583 w 1326536"/>
              <a:gd name="connsiteY69" fmla="*/ 66712 h 1365941"/>
              <a:gd name="connsiteX70" fmla="*/ 336629 w 1326536"/>
              <a:gd name="connsiteY70" fmla="*/ 87850 h 1365941"/>
              <a:gd name="connsiteX71" fmla="*/ 353798 w 1326536"/>
              <a:gd name="connsiteY71" fmla="*/ 91912 h 1365941"/>
              <a:gd name="connsiteX72" fmla="*/ 349737 w 1326536"/>
              <a:gd name="connsiteY72" fmla="*/ 106035 h 1365941"/>
              <a:gd name="connsiteX73" fmla="*/ 330629 w 1326536"/>
              <a:gd name="connsiteY73" fmla="*/ 124219 h 1365941"/>
              <a:gd name="connsiteX74" fmla="*/ 308475 w 1326536"/>
              <a:gd name="connsiteY74" fmla="*/ 135296 h 1365941"/>
              <a:gd name="connsiteX75" fmla="*/ 285306 w 1326536"/>
              <a:gd name="connsiteY75" fmla="*/ 147389 h 1365941"/>
              <a:gd name="connsiteX76" fmla="*/ 267214 w 1326536"/>
              <a:gd name="connsiteY76" fmla="*/ 150435 h 1365941"/>
              <a:gd name="connsiteX77" fmla="*/ 247091 w 1326536"/>
              <a:gd name="connsiteY77" fmla="*/ 142404 h 1365941"/>
              <a:gd name="connsiteX78" fmla="*/ 221429 w 1326536"/>
              <a:gd name="connsiteY78" fmla="*/ 108527 h 1365941"/>
              <a:gd name="connsiteX79" fmla="*/ 188567 w 1326536"/>
              <a:gd name="connsiteY79" fmla="*/ 118127 h 1365941"/>
              <a:gd name="connsiteX80" fmla="*/ 137891 w 1326536"/>
              <a:gd name="connsiteY80" fmla="*/ 121820 h 1365941"/>
              <a:gd name="connsiteX81" fmla="*/ 146568 w 1326536"/>
              <a:gd name="connsiteY81" fmla="*/ 140281 h 1365941"/>
              <a:gd name="connsiteX82" fmla="*/ 153306 w 1326536"/>
              <a:gd name="connsiteY82" fmla="*/ 154035 h 1365941"/>
              <a:gd name="connsiteX83" fmla="*/ 130506 w 1326536"/>
              <a:gd name="connsiteY83" fmla="*/ 172127 h 1365941"/>
              <a:gd name="connsiteX84" fmla="*/ 152014 w 1326536"/>
              <a:gd name="connsiteY84" fmla="*/ 226496 h 1365941"/>
              <a:gd name="connsiteX85" fmla="*/ 145091 w 1326536"/>
              <a:gd name="connsiteY85" fmla="*/ 272281 h 1365941"/>
              <a:gd name="connsiteX86" fmla="*/ 132168 w 1326536"/>
              <a:gd name="connsiteY86" fmla="*/ 317881 h 1365941"/>
              <a:gd name="connsiteX87" fmla="*/ 103368 w 1326536"/>
              <a:gd name="connsiteY87" fmla="*/ 319912 h 1365941"/>
              <a:gd name="connsiteX88" fmla="*/ 62660 w 1326536"/>
              <a:gd name="connsiteY88" fmla="*/ 334773 h 1365941"/>
              <a:gd name="connsiteX89" fmla="*/ 32844 w 1326536"/>
              <a:gd name="connsiteY89" fmla="*/ 354619 h 1365941"/>
              <a:gd name="connsiteX90" fmla="*/ 21952 w 1326536"/>
              <a:gd name="connsiteY90" fmla="*/ 386373 h 1365941"/>
              <a:gd name="connsiteX91" fmla="*/ 7091 w 1326536"/>
              <a:gd name="connsiteY91" fmla="*/ 404281 h 1365941"/>
              <a:gd name="connsiteX92" fmla="*/ 2106 w 1326536"/>
              <a:gd name="connsiteY92" fmla="*/ 426158 h 1365941"/>
              <a:gd name="connsiteX93" fmla="*/ 11060 w 1326536"/>
              <a:gd name="connsiteY93" fmla="*/ 454958 h 1365941"/>
              <a:gd name="connsiteX94" fmla="*/ 24998 w 1326536"/>
              <a:gd name="connsiteY94" fmla="*/ 483758 h 1365941"/>
              <a:gd name="connsiteX95" fmla="*/ 41891 w 1326536"/>
              <a:gd name="connsiteY95" fmla="*/ 496681 h 1365941"/>
              <a:gd name="connsiteX96" fmla="*/ 59798 w 1326536"/>
              <a:gd name="connsiteY96" fmla="*/ 515512 h 1365941"/>
              <a:gd name="connsiteX97" fmla="*/ 95521 w 1326536"/>
              <a:gd name="connsiteY97" fmla="*/ 510527 h 1365941"/>
              <a:gd name="connsiteX98" fmla="*/ 110383 w 1326536"/>
              <a:gd name="connsiteY98" fmla="*/ 507573 h 1365941"/>
              <a:gd name="connsiteX99" fmla="*/ 118321 w 1326536"/>
              <a:gd name="connsiteY99" fmla="*/ 551235 h 1365941"/>
              <a:gd name="connsiteX100" fmla="*/ 161983 w 1326536"/>
              <a:gd name="connsiteY100" fmla="*/ 552250 h 1365941"/>
              <a:gd name="connsiteX101" fmla="*/ 190783 w 1326536"/>
              <a:gd name="connsiteY101" fmla="*/ 545327 h 1365941"/>
              <a:gd name="connsiteX102" fmla="*/ 219583 w 1326536"/>
              <a:gd name="connsiteY102" fmla="*/ 530465 h 1365941"/>
              <a:gd name="connsiteX103" fmla="*/ 259275 w 1326536"/>
              <a:gd name="connsiteY103" fmla="*/ 512558 h 1365941"/>
              <a:gd name="connsiteX104" fmla="*/ 291029 w 1326536"/>
              <a:gd name="connsiteY104" fmla="*/ 514496 h 1365941"/>
              <a:gd name="connsiteX105" fmla="*/ 301921 w 1326536"/>
              <a:gd name="connsiteY105" fmla="*/ 580035 h 1365941"/>
              <a:gd name="connsiteX106" fmla="*/ 341614 w 1326536"/>
              <a:gd name="connsiteY106" fmla="*/ 603850 h 1365941"/>
              <a:gd name="connsiteX107" fmla="*/ 365429 w 1326536"/>
              <a:gd name="connsiteY107" fmla="*/ 608835 h 1365941"/>
              <a:gd name="connsiteX108" fmla="*/ 379367 w 1326536"/>
              <a:gd name="connsiteY108" fmla="*/ 620742 h 1365941"/>
              <a:gd name="connsiteX109" fmla="*/ 407152 w 1326536"/>
              <a:gd name="connsiteY109" fmla="*/ 633665 h 1365941"/>
              <a:gd name="connsiteX110" fmla="*/ 443890 w 1326536"/>
              <a:gd name="connsiteY110" fmla="*/ 641604 h 1365941"/>
              <a:gd name="connsiteX111" fmla="*/ 456814 w 1326536"/>
              <a:gd name="connsiteY111" fmla="*/ 664404 h 1365941"/>
              <a:gd name="connsiteX112" fmla="*/ 461798 w 1326536"/>
              <a:gd name="connsiteY112" fmla="*/ 690250 h 1365941"/>
              <a:gd name="connsiteX113" fmla="*/ 465767 w 1326536"/>
              <a:gd name="connsiteY113" fmla="*/ 718035 h 1365941"/>
              <a:gd name="connsiteX114" fmla="*/ 502506 w 1326536"/>
              <a:gd name="connsiteY114" fmla="*/ 734927 h 1365941"/>
              <a:gd name="connsiteX115" fmla="*/ 530291 w 1326536"/>
              <a:gd name="connsiteY115" fmla="*/ 751819 h 1365941"/>
              <a:gd name="connsiteX116" fmla="*/ 550137 w 1326536"/>
              <a:gd name="connsiteY116" fmla="*/ 784588 h 1365941"/>
              <a:gd name="connsiteX117" fmla="*/ 546167 w 1326536"/>
              <a:gd name="connsiteY117" fmla="*/ 828250 h 1365941"/>
              <a:gd name="connsiteX118" fmla="*/ 535921 w 1326536"/>
              <a:gd name="connsiteY118" fmla="*/ 851050 h 1365941"/>
              <a:gd name="connsiteX119" fmla="*/ 537306 w 1326536"/>
              <a:gd name="connsiteY119" fmla="*/ 868958 h 1365941"/>
              <a:gd name="connsiteX120" fmla="*/ 543398 w 1326536"/>
              <a:gd name="connsiteY120" fmla="*/ 910219 h 1365941"/>
              <a:gd name="connsiteX121" fmla="*/ 560567 w 1326536"/>
              <a:gd name="connsiteY121" fmla="*/ 937450 h 1365941"/>
              <a:gd name="connsiteX122" fmla="*/ 589829 w 1326536"/>
              <a:gd name="connsiteY122" fmla="*/ 940496 h 1365941"/>
              <a:gd name="connsiteX123" fmla="*/ 612998 w 1326536"/>
              <a:gd name="connsiteY123" fmla="*/ 968742 h 1365941"/>
              <a:gd name="connsiteX124" fmla="*/ 629152 w 1326536"/>
              <a:gd name="connsiteY124" fmla="*/ 1005942 h 1365941"/>
              <a:gd name="connsiteX125" fmla="*/ 657398 w 1326536"/>
              <a:gd name="connsiteY125" fmla="*/ 999942 h 1365941"/>
              <a:gd name="connsiteX126" fmla="*/ 654260 w 1326536"/>
              <a:gd name="connsiteY126" fmla="*/ 1060035 h 1365941"/>
              <a:gd name="connsiteX127" fmla="*/ 676321 w 1326536"/>
              <a:gd name="connsiteY127" fmla="*/ 1061511 h 1365941"/>
              <a:gd name="connsiteX128" fmla="*/ 682413 w 1326536"/>
              <a:gd name="connsiteY128" fmla="*/ 1112835 h 1365941"/>
              <a:gd name="connsiteX129" fmla="*/ 641706 w 1326536"/>
              <a:gd name="connsiteY129" fmla="*/ 1135450 h 1365941"/>
              <a:gd name="connsiteX130" fmla="*/ 583644 w 1326536"/>
              <a:gd name="connsiteY130" fmla="*/ 1196558 h 1365941"/>
              <a:gd name="connsiteX131" fmla="*/ 554014 w 1326536"/>
              <a:gd name="connsiteY131" fmla="*/ 1231912 h 1365941"/>
              <a:gd name="connsiteX132" fmla="*/ 564075 w 1326536"/>
              <a:gd name="connsiteY132" fmla="*/ 1231265 h 1365941"/>
              <a:gd name="connsiteX133" fmla="*/ 592783 w 1326536"/>
              <a:gd name="connsiteY133" fmla="*/ 1241788 h 1365941"/>
              <a:gd name="connsiteX134" fmla="*/ 607829 w 1326536"/>
              <a:gd name="connsiteY134" fmla="*/ 1265142 h 1365941"/>
              <a:gd name="connsiteX135" fmla="*/ 626660 w 1326536"/>
              <a:gd name="connsiteY135" fmla="*/ 1259881 h 1365941"/>
              <a:gd name="connsiteX136" fmla="*/ 664321 w 1326536"/>
              <a:gd name="connsiteY136" fmla="*/ 1288588 h 1365941"/>
              <a:gd name="connsiteX137" fmla="*/ 686937 w 1326536"/>
              <a:gd name="connsiteY137" fmla="*/ 1314989 h 1365941"/>
              <a:gd name="connsiteX138" fmla="*/ 690444 w 1326536"/>
              <a:gd name="connsiteY138" fmla="*/ 1365942 h 1365941"/>
              <a:gd name="connsiteX139" fmla="*/ 706137 w 1326536"/>
              <a:gd name="connsiteY139" fmla="*/ 1350434 h 136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326536" h="1365941">
                <a:moveTo>
                  <a:pt x="705675" y="1350619"/>
                </a:moveTo>
                <a:cubicBezTo>
                  <a:pt x="726536" y="1335758"/>
                  <a:pt x="721275" y="1326804"/>
                  <a:pt x="730967" y="1308988"/>
                </a:cubicBezTo>
                <a:cubicBezTo>
                  <a:pt x="740660" y="1291081"/>
                  <a:pt x="732444" y="1283696"/>
                  <a:pt x="748875" y="1268004"/>
                </a:cubicBezTo>
                <a:cubicBezTo>
                  <a:pt x="765213" y="1252404"/>
                  <a:pt x="745921" y="1241973"/>
                  <a:pt x="766783" y="1232281"/>
                </a:cubicBezTo>
                <a:cubicBezTo>
                  <a:pt x="787644" y="1222588"/>
                  <a:pt x="784598" y="1241234"/>
                  <a:pt x="767521" y="1262742"/>
                </a:cubicBezTo>
                <a:cubicBezTo>
                  <a:pt x="750444" y="1284342"/>
                  <a:pt x="747398" y="1290342"/>
                  <a:pt x="769737" y="1273912"/>
                </a:cubicBezTo>
                <a:cubicBezTo>
                  <a:pt x="792075" y="1257480"/>
                  <a:pt x="800290" y="1234496"/>
                  <a:pt x="812937" y="1208373"/>
                </a:cubicBezTo>
                <a:cubicBezTo>
                  <a:pt x="825583" y="1182342"/>
                  <a:pt x="835275" y="1174127"/>
                  <a:pt x="846444" y="1172650"/>
                </a:cubicBezTo>
                <a:cubicBezTo>
                  <a:pt x="857613" y="1171173"/>
                  <a:pt x="857613" y="1143573"/>
                  <a:pt x="856136" y="1124281"/>
                </a:cubicBezTo>
                <a:cubicBezTo>
                  <a:pt x="854660" y="1104896"/>
                  <a:pt x="848660" y="1087081"/>
                  <a:pt x="856875" y="1074435"/>
                </a:cubicBezTo>
                <a:cubicBezTo>
                  <a:pt x="865090" y="1061788"/>
                  <a:pt x="856875" y="1049881"/>
                  <a:pt x="867306" y="1049881"/>
                </a:cubicBezTo>
                <a:cubicBezTo>
                  <a:pt x="877736" y="1049881"/>
                  <a:pt x="893336" y="1034281"/>
                  <a:pt x="909767" y="1017850"/>
                </a:cubicBezTo>
                <a:cubicBezTo>
                  <a:pt x="926198" y="1001511"/>
                  <a:pt x="936536" y="1000035"/>
                  <a:pt x="953706" y="998465"/>
                </a:cubicBezTo>
                <a:cubicBezTo>
                  <a:pt x="970783" y="996988"/>
                  <a:pt x="961183" y="990988"/>
                  <a:pt x="972352" y="988035"/>
                </a:cubicBezTo>
                <a:cubicBezTo>
                  <a:pt x="983521" y="985081"/>
                  <a:pt x="990998" y="974650"/>
                  <a:pt x="998383" y="967911"/>
                </a:cubicBezTo>
                <a:cubicBezTo>
                  <a:pt x="1005859" y="961173"/>
                  <a:pt x="1036321" y="968650"/>
                  <a:pt x="1054229" y="968650"/>
                </a:cubicBezTo>
                <a:cubicBezTo>
                  <a:pt x="1072136" y="968650"/>
                  <a:pt x="1084044" y="970127"/>
                  <a:pt x="1084044" y="958957"/>
                </a:cubicBezTo>
                <a:cubicBezTo>
                  <a:pt x="1084044" y="947788"/>
                  <a:pt x="1092260" y="938834"/>
                  <a:pt x="1102690" y="938834"/>
                </a:cubicBezTo>
                <a:cubicBezTo>
                  <a:pt x="1113121" y="938834"/>
                  <a:pt x="1117552" y="935881"/>
                  <a:pt x="1117552" y="921019"/>
                </a:cubicBezTo>
                <a:cubicBezTo>
                  <a:pt x="1117552" y="906158"/>
                  <a:pt x="1121983" y="897204"/>
                  <a:pt x="1130937" y="890465"/>
                </a:cubicBezTo>
                <a:cubicBezTo>
                  <a:pt x="1139890" y="883727"/>
                  <a:pt x="1141367" y="868865"/>
                  <a:pt x="1144321" y="859173"/>
                </a:cubicBezTo>
                <a:cubicBezTo>
                  <a:pt x="1147275" y="849481"/>
                  <a:pt x="1156967" y="855481"/>
                  <a:pt x="1156967" y="841265"/>
                </a:cubicBezTo>
                <a:cubicBezTo>
                  <a:pt x="1156967" y="827050"/>
                  <a:pt x="1162136" y="811542"/>
                  <a:pt x="1162136" y="800281"/>
                </a:cubicBezTo>
                <a:cubicBezTo>
                  <a:pt x="1162136" y="789019"/>
                  <a:pt x="1174044" y="790588"/>
                  <a:pt x="1179213" y="782373"/>
                </a:cubicBezTo>
                <a:cubicBezTo>
                  <a:pt x="1184382" y="774158"/>
                  <a:pt x="1174783" y="763727"/>
                  <a:pt x="1182906" y="740650"/>
                </a:cubicBezTo>
                <a:cubicBezTo>
                  <a:pt x="1191121" y="717573"/>
                  <a:pt x="1182906" y="695973"/>
                  <a:pt x="1182906" y="675111"/>
                </a:cubicBezTo>
                <a:cubicBezTo>
                  <a:pt x="1182906" y="654250"/>
                  <a:pt x="1182906" y="632650"/>
                  <a:pt x="1190382" y="626004"/>
                </a:cubicBezTo>
                <a:cubicBezTo>
                  <a:pt x="1197860" y="619358"/>
                  <a:pt x="1194075" y="615573"/>
                  <a:pt x="1188167" y="612619"/>
                </a:cubicBezTo>
                <a:cubicBezTo>
                  <a:pt x="1182260" y="609665"/>
                  <a:pt x="1188906" y="601450"/>
                  <a:pt x="1194075" y="602927"/>
                </a:cubicBezTo>
                <a:cubicBezTo>
                  <a:pt x="1199244" y="604404"/>
                  <a:pt x="1205244" y="615573"/>
                  <a:pt x="1214936" y="609665"/>
                </a:cubicBezTo>
                <a:cubicBezTo>
                  <a:pt x="1224629" y="603665"/>
                  <a:pt x="1233583" y="578373"/>
                  <a:pt x="1241706" y="557512"/>
                </a:cubicBezTo>
                <a:cubicBezTo>
                  <a:pt x="1249921" y="536650"/>
                  <a:pt x="1263306" y="537389"/>
                  <a:pt x="1273737" y="532958"/>
                </a:cubicBezTo>
                <a:cubicBezTo>
                  <a:pt x="1284167" y="528527"/>
                  <a:pt x="1306506" y="503142"/>
                  <a:pt x="1320629" y="466681"/>
                </a:cubicBezTo>
                <a:cubicBezTo>
                  <a:pt x="1334752" y="430219"/>
                  <a:pt x="1319890" y="394496"/>
                  <a:pt x="1313890" y="369204"/>
                </a:cubicBezTo>
                <a:cubicBezTo>
                  <a:pt x="1307890" y="343912"/>
                  <a:pt x="1299767" y="349081"/>
                  <a:pt x="1284906" y="349819"/>
                </a:cubicBezTo>
                <a:cubicBezTo>
                  <a:pt x="1270044" y="350558"/>
                  <a:pt x="1241706" y="346865"/>
                  <a:pt x="1204506" y="306619"/>
                </a:cubicBezTo>
                <a:cubicBezTo>
                  <a:pt x="1167306" y="266466"/>
                  <a:pt x="1130844" y="269419"/>
                  <a:pt x="1106290" y="276066"/>
                </a:cubicBezTo>
                <a:cubicBezTo>
                  <a:pt x="1081736" y="282804"/>
                  <a:pt x="1056444" y="264158"/>
                  <a:pt x="1040013" y="260466"/>
                </a:cubicBezTo>
                <a:cubicBezTo>
                  <a:pt x="1023675" y="256773"/>
                  <a:pt x="1007983" y="277635"/>
                  <a:pt x="996075" y="282066"/>
                </a:cubicBezTo>
                <a:cubicBezTo>
                  <a:pt x="984167" y="286496"/>
                  <a:pt x="1001983" y="264158"/>
                  <a:pt x="1002813" y="250035"/>
                </a:cubicBezTo>
                <a:cubicBezTo>
                  <a:pt x="1003552" y="235912"/>
                  <a:pt x="958137" y="215789"/>
                  <a:pt x="923890" y="202404"/>
                </a:cubicBezTo>
                <a:cubicBezTo>
                  <a:pt x="889644" y="189020"/>
                  <a:pt x="874783" y="195666"/>
                  <a:pt x="874783" y="217266"/>
                </a:cubicBezTo>
                <a:cubicBezTo>
                  <a:pt x="874783" y="238866"/>
                  <a:pt x="861398" y="210527"/>
                  <a:pt x="850967" y="233604"/>
                </a:cubicBezTo>
                <a:cubicBezTo>
                  <a:pt x="840536" y="256681"/>
                  <a:pt x="821152" y="241820"/>
                  <a:pt x="833890" y="234342"/>
                </a:cubicBezTo>
                <a:cubicBezTo>
                  <a:pt x="846536" y="226865"/>
                  <a:pt x="858444" y="209789"/>
                  <a:pt x="862875" y="195666"/>
                </a:cubicBezTo>
                <a:cubicBezTo>
                  <a:pt x="867306" y="181542"/>
                  <a:pt x="813767" y="170373"/>
                  <a:pt x="795121" y="177758"/>
                </a:cubicBezTo>
                <a:cubicBezTo>
                  <a:pt x="776475" y="185235"/>
                  <a:pt x="788383" y="212004"/>
                  <a:pt x="773521" y="203789"/>
                </a:cubicBezTo>
                <a:cubicBezTo>
                  <a:pt x="758660" y="195573"/>
                  <a:pt x="770567" y="175542"/>
                  <a:pt x="782475" y="176189"/>
                </a:cubicBezTo>
                <a:cubicBezTo>
                  <a:pt x="794383" y="176927"/>
                  <a:pt x="807767" y="152373"/>
                  <a:pt x="815983" y="134558"/>
                </a:cubicBezTo>
                <a:cubicBezTo>
                  <a:pt x="824198" y="116650"/>
                  <a:pt x="801860" y="113696"/>
                  <a:pt x="788475" y="98835"/>
                </a:cubicBezTo>
                <a:cubicBezTo>
                  <a:pt x="775275" y="84065"/>
                  <a:pt x="777952" y="41142"/>
                  <a:pt x="764383" y="34404"/>
                </a:cubicBezTo>
                <a:cubicBezTo>
                  <a:pt x="749798" y="48804"/>
                  <a:pt x="730229" y="71327"/>
                  <a:pt x="724690" y="87943"/>
                </a:cubicBezTo>
                <a:cubicBezTo>
                  <a:pt x="717583" y="109173"/>
                  <a:pt x="708537" y="96989"/>
                  <a:pt x="689429" y="103081"/>
                </a:cubicBezTo>
                <a:cubicBezTo>
                  <a:pt x="670321" y="109173"/>
                  <a:pt x="661183" y="101050"/>
                  <a:pt x="656198" y="93019"/>
                </a:cubicBezTo>
                <a:cubicBezTo>
                  <a:pt x="651121" y="84896"/>
                  <a:pt x="632013" y="93019"/>
                  <a:pt x="618906" y="92004"/>
                </a:cubicBezTo>
                <a:cubicBezTo>
                  <a:pt x="605798" y="90989"/>
                  <a:pt x="613829" y="108158"/>
                  <a:pt x="604783" y="113143"/>
                </a:cubicBezTo>
                <a:cubicBezTo>
                  <a:pt x="595737" y="118127"/>
                  <a:pt x="572567" y="103081"/>
                  <a:pt x="564444" y="112127"/>
                </a:cubicBezTo>
                <a:cubicBezTo>
                  <a:pt x="556413" y="121173"/>
                  <a:pt x="551337" y="112127"/>
                  <a:pt x="547275" y="120158"/>
                </a:cubicBezTo>
                <a:cubicBezTo>
                  <a:pt x="543214" y="128189"/>
                  <a:pt x="529091" y="123204"/>
                  <a:pt x="525121" y="128189"/>
                </a:cubicBezTo>
                <a:cubicBezTo>
                  <a:pt x="521060" y="133173"/>
                  <a:pt x="507029" y="136220"/>
                  <a:pt x="488844" y="116096"/>
                </a:cubicBezTo>
                <a:cubicBezTo>
                  <a:pt x="470660" y="95973"/>
                  <a:pt x="473706" y="62650"/>
                  <a:pt x="481829" y="56650"/>
                </a:cubicBezTo>
                <a:cubicBezTo>
                  <a:pt x="489860" y="50650"/>
                  <a:pt x="489860" y="33481"/>
                  <a:pt x="478783" y="28404"/>
                </a:cubicBezTo>
                <a:cubicBezTo>
                  <a:pt x="467706" y="23420"/>
                  <a:pt x="478783" y="2189"/>
                  <a:pt x="464660" y="158"/>
                </a:cubicBezTo>
                <a:cubicBezTo>
                  <a:pt x="450537" y="-1873"/>
                  <a:pt x="452567" y="16312"/>
                  <a:pt x="443521" y="19266"/>
                </a:cubicBezTo>
                <a:cubicBezTo>
                  <a:pt x="434475" y="22312"/>
                  <a:pt x="412229" y="37450"/>
                  <a:pt x="402167" y="35419"/>
                </a:cubicBezTo>
                <a:cubicBezTo>
                  <a:pt x="392106" y="33389"/>
                  <a:pt x="378998" y="37450"/>
                  <a:pt x="378998" y="48527"/>
                </a:cubicBezTo>
                <a:cubicBezTo>
                  <a:pt x="378998" y="59604"/>
                  <a:pt x="367921" y="56558"/>
                  <a:pt x="365891" y="47512"/>
                </a:cubicBezTo>
                <a:cubicBezTo>
                  <a:pt x="363860" y="38465"/>
                  <a:pt x="342721" y="43450"/>
                  <a:pt x="336629" y="37450"/>
                </a:cubicBezTo>
                <a:cubicBezTo>
                  <a:pt x="330629" y="31358"/>
                  <a:pt x="302383" y="34404"/>
                  <a:pt x="314475" y="41512"/>
                </a:cubicBezTo>
                <a:cubicBezTo>
                  <a:pt x="326567" y="48527"/>
                  <a:pt x="327583" y="55635"/>
                  <a:pt x="327583" y="66712"/>
                </a:cubicBezTo>
                <a:cubicBezTo>
                  <a:pt x="327583" y="77789"/>
                  <a:pt x="336629" y="74835"/>
                  <a:pt x="336629" y="87850"/>
                </a:cubicBezTo>
                <a:cubicBezTo>
                  <a:pt x="336629" y="100866"/>
                  <a:pt x="346690" y="91912"/>
                  <a:pt x="353798" y="91912"/>
                </a:cubicBezTo>
                <a:cubicBezTo>
                  <a:pt x="360906" y="91912"/>
                  <a:pt x="360814" y="104004"/>
                  <a:pt x="349737" y="106035"/>
                </a:cubicBezTo>
                <a:cubicBezTo>
                  <a:pt x="338660" y="108066"/>
                  <a:pt x="333583" y="114065"/>
                  <a:pt x="330629" y="124219"/>
                </a:cubicBezTo>
                <a:cubicBezTo>
                  <a:pt x="327583" y="134281"/>
                  <a:pt x="317521" y="127266"/>
                  <a:pt x="308475" y="135296"/>
                </a:cubicBezTo>
                <a:cubicBezTo>
                  <a:pt x="299429" y="143420"/>
                  <a:pt x="291306" y="151450"/>
                  <a:pt x="285306" y="147389"/>
                </a:cubicBezTo>
                <a:cubicBezTo>
                  <a:pt x="279306" y="143420"/>
                  <a:pt x="274229" y="146373"/>
                  <a:pt x="267214" y="150435"/>
                </a:cubicBezTo>
                <a:cubicBezTo>
                  <a:pt x="260198" y="154496"/>
                  <a:pt x="257152" y="150435"/>
                  <a:pt x="247091" y="142404"/>
                </a:cubicBezTo>
                <a:cubicBezTo>
                  <a:pt x="239521" y="136404"/>
                  <a:pt x="234814" y="121820"/>
                  <a:pt x="221429" y="108527"/>
                </a:cubicBezTo>
                <a:cubicBezTo>
                  <a:pt x="213491" y="112312"/>
                  <a:pt x="197244" y="118127"/>
                  <a:pt x="188567" y="118127"/>
                </a:cubicBezTo>
                <a:cubicBezTo>
                  <a:pt x="176844" y="118127"/>
                  <a:pt x="139921" y="115450"/>
                  <a:pt x="137891" y="121820"/>
                </a:cubicBezTo>
                <a:cubicBezTo>
                  <a:pt x="135860" y="128189"/>
                  <a:pt x="140568" y="138896"/>
                  <a:pt x="146568" y="140281"/>
                </a:cubicBezTo>
                <a:cubicBezTo>
                  <a:pt x="152660" y="141666"/>
                  <a:pt x="165398" y="145358"/>
                  <a:pt x="153306" y="154035"/>
                </a:cubicBezTo>
                <a:cubicBezTo>
                  <a:pt x="141214" y="162712"/>
                  <a:pt x="130506" y="150989"/>
                  <a:pt x="130506" y="172127"/>
                </a:cubicBezTo>
                <a:cubicBezTo>
                  <a:pt x="130506" y="193266"/>
                  <a:pt x="157645" y="207019"/>
                  <a:pt x="152014" y="226496"/>
                </a:cubicBezTo>
                <a:cubicBezTo>
                  <a:pt x="149060" y="236558"/>
                  <a:pt x="145091" y="262404"/>
                  <a:pt x="145091" y="272281"/>
                </a:cubicBezTo>
                <a:cubicBezTo>
                  <a:pt x="145091" y="282158"/>
                  <a:pt x="141121" y="315943"/>
                  <a:pt x="132168" y="317881"/>
                </a:cubicBezTo>
                <a:cubicBezTo>
                  <a:pt x="123214" y="319912"/>
                  <a:pt x="115275" y="309942"/>
                  <a:pt x="103368" y="319912"/>
                </a:cubicBezTo>
                <a:cubicBezTo>
                  <a:pt x="91460" y="329789"/>
                  <a:pt x="76598" y="323881"/>
                  <a:pt x="62660" y="334773"/>
                </a:cubicBezTo>
                <a:cubicBezTo>
                  <a:pt x="48721" y="345666"/>
                  <a:pt x="33860" y="341696"/>
                  <a:pt x="32844" y="354619"/>
                </a:cubicBezTo>
                <a:cubicBezTo>
                  <a:pt x="31829" y="367543"/>
                  <a:pt x="18998" y="374466"/>
                  <a:pt x="21952" y="386373"/>
                </a:cubicBezTo>
                <a:cubicBezTo>
                  <a:pt x="24906" y="398281"/>
                  <a:pt x="15952" y="395327"/>
                  <a:pt x="7091" y="404281"/>
                </a:cubicBezTo>
                <a:cubicBezTo>
                  <a:pt x="-1863" y="413235"/>
                  <a:pt x="8106" y="419142"/>
                  <a:pt x="2106" y="426158"/>
                </a:cubicBezTo>
                <a:cubicBezTo>
                  <a:pt x="-3894" y="433081"/>
                  <a:pt x="4137" y="443973"/>
                  <a:pt x="11060" y="454958"/>
                </a:cubicBezTo>
                <a:cubicBezTo>
                  <a:pt x="17983" y="465943"/>
                  <a:pt x="25921" y="473788"/>
                  <a:pt x="24998" y="483758"/>
                </a:cubicBezTo>
                <a:cubicBezTo>
                  <a:pt x="23983" y="493727"/>
                  <a:pt x="31921" y="497696"/>
                  <a:pt x="41891" y="496681"/>
                </a:cubicBezTo>
                <a:cubicBezTo>
                  <a:pt x="51860" y="495666"/>
                  <a:pt x="43829" y="515512"/>
                  <a:pt x="59798" y="515512"/>
                </a:cubicBezTo>
                <a:cubicBezTo>
                  <a:pt x="75767" y="515512"/>
                  <a:pt x="91552" y="519481"/>
                  <a:pt x="95521" y="510527"/>
                </a:cubicBezTo>
                <a:cubicBezTo>
                  <a:pt x="99491" y="501573"/>
                  <a:pt x="110383" y="494650"/>
                  <a:pt x="110383" y="507573"/>
                </a:cubicBezTo>
                <a:cubicBezTo>
                  <a:pt x="110383" y="520496"/>
                  <a:pt x="107429" y="555204"/>
                  <a:pt x="118321" y="551235"/>
                </a:cubicBezTo>
                <a:cubicBezTo>
                  <a:pt x="129214" y="547266"/>
                  <a:pt x="151091" y="548281"/>
                  <a:pt x="161983" y="552250"/>
                </a:cubicBezTo>
                <a:cubicBezTo>
                  <a:pt x="172875" y="556219"/>
                  <a:pt x="183768" y="552250"/>
                  <a:pt x="190783" y="545327"/>
                </a:cubicBezTo>
                <a:cubicBezTo>
                  <a:pt x="197706" y="538404"/>
                  <a:pt x="205644" y="538404"/>
                  <a:pt x="219583" y="530465"/>
                </a:cubicBezTo>
                <a:cubicBezTo>
                  <a:pt x="233521" y="522527"/>
                  <a:pt x="246352" y="512558"/>
                  <a:pt x="259275" y="512558"/>
                </a:cubicBezTo>
                <a:cubicBezTo>
                  <a:pt x="272198" y="512558"/>
                  <a:pt x="293983" y="504619"/>
                  <a:pt x="291029" y="514496"/>
                </a:cubicBezTo>
                <a:cubicBezTo>
                  <a:pt x="288075" y="524466"/>
                  <a:pt x="286045" y="561204"/>
                  <a:pt x="301921" y="580035"/>
                </a:cubicBezTo>
                <a:cubicBezTo>
                  <a:pt x="317798" y="598865"/>
                  <a:pt x="326752" y="605881"/>
                  <a:pt x="341614" y="603850"/>
                </a:cubicBezTo>
                <a:cubicBezTo>
                  <a:pt x="356475" y="601819"/>
                  <a:pt x="354537" y="609758"/>
                  <a:pt x="365429" y="608835"/>
                </a:cubicBezTo>
                <a:cubicBezTo>
                  <a:pt x="376321" y="607819"/>
                  <a:pt x="369398" y="620742"/>
                  <a:pt x="379367" y="620742"/>
                </a:cubicBezTo>
                <a:cubicBezTo>
                  <a:pt x="389337" y="620742"/>
                  <a:pt x="407152" y="622773"/>
                  <a:pt x="407152" y="633665"/>
                </a:cubicBezTo>
                <a:cubicBezTo>
                  <a:pt x="407152" y="644558"/>
                  <a:pt x="436967" y="635696"/>
                  <a:pt x="443890" y="641604"/>
                </a:cubicBezTo>
                <a:cubicBezTo>
                  <a:pt x="450813" y="647512"/>
                  <a:pt x="458752" y="652496"/>
                  <a:pt x="456814" y="664404"/>
                </a:cubicBezTo>
                <a:cubicBezTo>
                  <a:pt x="454783" y="676311"/>
                  <a:pt x="471675" y="685265"/>
                  <a:pt x="461798" y="690250"/>
                </a:cubicBezTo>
                <a:cubicBezTo>
                  <a:pt x="451829" y="695235"/>
                  <a:pt x="464752" y="705111"/>
                  <a:pt x="465767" y="718035"/>
                </a:cubicBezTo>
                <a:cubicBezTo>
                  <a:pt x="466783" y="730958"/>
                  <a:pt x="480629" y="735942"/>
                  <a:pt x="502506" y="734927"/>
                </a:cubicBezTo>
                <a:cubicBezTo>
                  <a:pt x="524383" y="734004"/>
                  <a:pt x="530291" y="735942"/>
                  <a:pt x="530291" y="751819"/>
                </a:cubicBezTo>
                <a:cubicBezTo>
                  <a:pt x="530291" y="767696"/>
                  <a:pt x="545152" y="769635"/>
                  <a:pt x="550137" y="784588"/>
                </a:cubicBezTo>
                <a:cubicBezTo>
                  <a:pt x="555121" y="799450"/>
                  <a:pt x="544229" y="816342"/>
                  <a:pt x="546167" y="828250"/>
                </a:cubicBezTo>
                <a:cubicBezTo>
                  <a:pt x="547644" y="837388"/>
                  <a:pt x="542198" y="847081"/>
                  <a:pt x="535921" y="851050"/>
                </a:cubicBezTo>
                <a:cubicBezTo>
                  <a:pt x="543583" y="860742"/>
                  <a:pt x="544229" y="865173"/>
                  <a:pt x="537306" y="868958"/>
                </a:cubicBezTo>
                <a:cubicBezTo>
                  <a:pt x="528260" y="873942"/>
                  <a:pt x="548383" y="888065"/>
                  <a:pt x="543398" y="910219"/>
                </a:cubicBezTo>
                <a:cubicBezTo>
                  <a:pt x="538414" y="932373"/>
                  <a:pt x="537398" y="936435"/>
                  <a:pt x="560567" y="937450"/>
                </a:cubicBezTo>
                <a:cubicBezTo>
                  <a:pt x="583737" y="938465"/>
                  <a:pt x="581706" y="945481"/>
                  <a:pt x="589829" y="940496"/>
                </a:cubicBezTo>
                <a:cubicBezTo>
                  <a:pt x="597860" y="935512"/>
                  <a:pt x="609952" y="957665"/>
                  <a:pt x="612998" y="968742"/>
                </a:cubicBezTo>
                <a:cubicBezTo>
                  <a:pt x="616044" y="979819"/>
                  <a:pt x="625090" y="1005942"/>
                  <a:pt x="629152" y="1005942"/>
                </a:cubicBezTo>
                <a:cubicBezTo>
                  <a:pt x="633214" y="1005942"/>
                  <a:pt x="645306" y="993850"/>
                  <a:pt x="657398" y="999942"/>
                </a:cubicBezTo>
                <a:cubicBezTo>
                  <a:pt x="668660" y="1005573"/>
                  <a:pt x="654629" y="1043419"/>
                  <a:pt x="654260" y="1060035"/>
                </a:cubicBezTo>
                <a:cubicBezTo>
                  <a:pt x="662660" y="1059758"/>
                  <a:pt x="672906" y="1059758"/>
                  <a:pt x="676321" y="1061511"/>
                </a:cubicBezTo>
                <a:cubicBezTo>
                  <a:pt x="682321" y="1064558"/>
                  <a:pt x="685367" y="1105265"/>
                  <a:pt x="682413" y="1112835"/>
                </a:cubicBezTo>
                <a:cubicBezTo>
                  <a:pt x="679367" y="1120404"/>
                  <a:pt x="654537" y="1127142"/>
                  <a:pt x="641706" y="1135450"/>
                </a:cubicBezTo>
                <a:cubicBezTo>
                  <a:pt x="628875" y="1143757"/>
                  <a:pt x="597952" y="1173204"/>
                  <a:pt x="583644" y="1196558"/>
                </a:cubicBezTo>
                <a:cubicBezTo>
                  <a:pt x="575152" y="1210404"/>
                  <a:pt x="562783" y="1221850"/>
                  <a:pt x="554014" y="1231912"/>
                </a:cubicBezTo>
                <a:cubicBezTo>
                  <a:pt x="558167" y="1232465"/>
                  <a:pt x="561675" y="1232281"/>
                  <a:pt x="564075" y="1231265"/>
                </a:cubicBezTo>
                <a:cubicBezTo>
                  <a:pt x="570813" y="1228219"/>
                  <a:pt x="581429" y="1228219"/>
                  <a:pt x="592783" y="1241788"/>
                </a:cubicBezTo>
                <a:cubicBezTo>
                  <a:pt x="604044" y="1255358"/>
                  <a:pt x="603306" y="1265973"/>
                  <a:pt x="607829" y="1265142"/>
                </a:cubicBezTo>
                <a:cubicBezTo>
                  <a:pt x="612352" y="1264404"/>
                  <a:pt x="617614" y="1247050"/>
                  <a:pt x="626660" y="1259881"/>
                </a:cubicBezTo>
                <a:cubicBezTo>
                  <a:pt x="635706" y="1272711"/>
                  <a:pt x="659060" y="1282496"/>
                  <a:pt x="664321" y="1288588"/>
                </a:cubicBezTo>
                <a:cubicBezTo>
                  <a:pt x="669583" y="1294588"/>
                  <a:pt x="686937" y="1299111"/>
                  <a:pt x="686937" y="1314989"/>
                </a:cubicBezTo>
                <a:cubicBezTo>
                  <a:pt x="686937" y="1326342"/>
                  <a:pt x="681583" y="1347758"/>
                  <a:pt x="690444" y="1365942"/>
                </a:cubicBezTo>
                <a:cubicBezTo>
                  <a:pt x="694690" y="1360496"/>
                  <a:pt x="699490" y="1355142"/>
                  <a:pt x="706137" y="1350434"/>
                </a:cubicBezTo>
                <a:close/>
              </a:path>
            </a:pathLst>
          </a:custGeom>
          <a:solidFill>
            <a:srgbClr val="FF5000"/>
          </a:solidFill>
          <a:ln w="12700" cap="flat">
            <a:solidFill>
              <a:schemeClr val="bg1"/>
            </a:solidFill>
            <a:prstDash val="solid"/>
            <a:miter/>
          </a:ln>
        </p:spPr>
        <p:txBody>
          <a:bodyPr rtlCol="0" anchor="ctr"/>
          <a:lstStyle/>
          <a:p>
            <a:endParaRPr lang="pt-BR"/>
          </a:p>
        </p:txBody>
      </p:sp>
      <p:sp>
        <p:nvSpPr>
          <p:cNvPr id="326" name="CaixaDeTexto 325">
            <a:extLst>
              <a:ext uri="{FF2B5EF4-FFF2-40B4-BE49-F238E27FC236}">
                <a16:creationId xmlns:a16="http://schemas.microsoft.com/office/drawing/2014/main" id="{881C7431-D9DE-6A3B-3D73-ECAF10F23D2C}"/>
              </a:ext>
            </a:extLst>
          </p:cNvPr>
          <p:cNvSpPr txBox="1"/>
          <p:nvPr/>
        </p:nvSpPr>
        <p:spPr>
          <a:xfrm>
            <a:off x="11177537" y="4681626"/>
            <a:ext cx="970044" cy="307777"/>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400" dirty="0">
                <a:solidFill>
                  <a:schemeClr val="bg1"/>
                </a:solidFill>
              </a:rPr>
              <a:t>Aripuanã</a:t>
            </a:r>
          </a:p>
        </p:txBody>
      </p:sp>
      <p:sp>
        <p:nvSpPr>
          <p:cNvPr id="679" name="CaixaDeTexto 678">
            <a:extLst>
              <a:ext uri="{FF2B5EF4-FFF2-40B4-BE49-F238E27FC236}">
                <a16:creationId xmlns:a16="http://schemas.microsoft.com/office/drawing/2014/main" id="{E268AE52-3F9B-BAD6-2E71-B317EC739503}"/>
              </a:ext>
            </a:extLst>
          </p:cNvPr>
          <p:cNvSpPr txBox="1"/>
          <p:nvPr/>
        </p:nvSpPr>
        <p:spPr>
          <a:xfrm>
            <a:off x="13888856" y="5586846"/>
            <a:ext cx="1094486"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a:t>Vazante</a:t>
            </a:r>
          </a:p>
        </p:txBody>
      </p:sp>
      <p:cxnSp>
        <p:nvCxnSpPr>
          <p:cNvPr id="683" name="Conector reto 682">
            <a:extLst>
              <a:ext uri="{FF2B5EF4-FFF2-40B4-BE49-F238E27FC236}">
                <a16:creationId xmlns:a16="http://schemas.microsoft.com/office/drawing/2014/main" id="{1A85B285-4606-F696-9C5F-A19ED363731C}"/>
              </a:ext>
            </a:extLst>
          </p:cNvPr>
          <p:cNvCxnSpPr>
            <a:cxnSpLocks/>
          </p:cNvCxnSpPr>
          <p:nvPr/>
        </p:nvCxnSpPr>
        <p:spPr>
          <a:xfrm>
            <a:off x="12546802" y="5706071"/>
            <a:ext cx="1367895"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cxnSp>
        <p:nvCxnSpPr>
          <p:cNvPr id="685" name="Conector reto 684">
            <a:extLst>
              <a:ext uri="{FF2B5EF4-FFF2-40B4-BE49-F238E27FC236}">
                <a16:creationId xmlns:a16="http://schemas.microsoft.com/office/drawing/2014/main" id="{E1D4BBEF-AAF8-60EF-A62B-64A977A2DBE5}"/>
              </a:ext>
            </a:extLst>
          </p:cNvPr>
          <p:cNvCxnSpPr>
            <a:cxnSpLocks/>
          </p:cNvCxnSpPr>
          <p:nvPr/>
        </p:nvCxnSpPr>
        <p:spPr>
          <a:xfrm>
            <a:off x="12972676" y="5979476"/>
            <a:ext cx="942021"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sp>
        <p:nvSpPr>
          <p:cNvPr id="694" name="CaixaDeTexto 693">
            <a:extLst>
              <a:ext uri="{FF2B5EF4-FFF2-40B4-BE49-F238E27FC236}">
                <a16:creationId xmlns:a16="http://schemas.microsoft.com/office/drawing/2014/main" id="{71F26C53-C5B0-4659-965C-257031118D7F}"/>
              </a:ext>
            </a:extLst>
          </p:cNvPr>
          <p:cNvSpPr txBox="1"/>
          <p:nvPr/>
        </p:nvSpPr>
        <p:spPr>
          <a:xfrm>
            <a:off x="13888856" y="5869051"/>
            <a:ext cx="1520024"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a:t>Três Marias</a:t>
            </a:r>
          </a:p>
        </p:txBody>
      </p:sp>
      <p:sp>
        <p:nvSpPr>
          <p:cNvPr id="695" name="CaixaDeTexto 694">
            <a:extLst>
              <a:ext uri="{FF2B5EF4-FFF2-40B4-BE49-F238E27FC236}">
                <a16:creationId xmlns:a16="http://schemas.microsoft.com/office/drawing/2014/main" id="{A6D25266-62BE-04A9-FE4F-E1ED5657C69E}"/>
              </a:ext>
            </a:extLst>
          </p:cNvPr>
          <p:cNvSpPr txBox="1"/>
          <p:nvPr/>
        </p:nvSpPr>
        <p:spPr>
          <a:xfrm>
            <a:off x="13888856" y="6144157"/>
            <a:ext cx="1520024"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a:t>Juiz de Fora</a:t>
            </a:r>
          </a:p>
        </p:txBody>
      </p:sp>
      <p:grpSp>
        <p:nvGrpSpPr>
          <p:cNvPr id="730" name="Agrupar 729">
            <a:extLst>
              <a:ext uri="{FF2B5EF4-FFF2-40B4-BE49-F238E27FC236}">
                <a16:creationId xmlns:a16="http://schemas.microsoft.com/office/drawing/2014/main" id="{4295FEB2-4F2E-532C-0F9D-35B62E105078}"/>
              </a:ext>
            </a:extLst>
          </p:cNvPr>
          <p:cNvGrpSpPr/>
          <p:nvPr/>
        </p:nvGrpSpPr>
        <p:grpSpPr>
          <a:xfrm>
            <a:off x="12870169" y="6216297"/>
            <a:ext cx="986816" cy="537195"/>
            <a:chOff x="10543646" y="6833370"/>
            <a:chExt cx="1055847" cy="349753"/>
          </a:xfrm>
        </p:grpSpPr>
        <p:cxnSp>
          <p:nvCxnSpPr>
            <p:cNvPr id="731" name="Conector reto 730">
              <a:extLst>
                <a:ext uri="{FF2B5EF4-FFF2-40B4-BE49-F238E27FC236}">
                  <a16:creationId xmlns:a16="http://schemas.microsoft.com/office/drawing/2014/main" id="{D643FE16-E2B5-3380-4829-48B9F901BECC}"/>
                </a:ext>
              </a:extLst>
            </p:cNvPr>
            <p:cNvCxnSpPr>
              <a:cxnSpLocks/>
            </p:cNvCxnSpPr>
            <p:nvPr/>
          </p:nvCxnSpPr>
          <p:spPr>
            <a:xfrm>
              <a:off x="10543646" y="7183123"/>
              <a:ext cx="1055847"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cxnSp>
          <p:nvCxnSpPr>
            <p:cNvPr id="732" name="Conector reto 731">
              <a:extLst>
                <a:ext uri="{FF2B5EF4-FFF2-40B4-BE49-F238E27FC236}">
                  <a16:creationId xmlns:a16="http://schemas.microsoft.com/office/drawing/2014/main" id="{DEF80718-F91A-8972-C97E-518C881C2594}"/>
                </a:ext>
              </a:extLst>
            </p:cNvPr>
            <p:cNvCxnSpPr>
              <a:cxnSpLocks/>
            </p:cNvCxnSpPr>
            <p:nvPr/>
          </p:nvCxnSpPr>
          <p:spPr>
            <a:xfrm>
              <a:off x="10543646" y="6833370"/>
              <a:ext cx="0" cy="349753"/>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grpSp>
      <p:sp>
        <p:nvSpPr>
          <p:cNvPr id="733" name="CaixaDeTexto 732">
            <a:extLst>
              <a:ext uri="{FF2B5EF4-FFF2-40B4-BE49-F238E27FC236}">
                <a16:creationId xmlns:a16="http://schemas.microsoft.com/office/drawing/2014/main" id="{127C9488-06FA-337F-7A7F-160AE87B6F1B}"/>
              </a:ext>
            </a:extLst>
          </p:cNvPr>
          <p:cNvSpPr txBox="1"/>
          <p:nvPr/>
        </p:nvSpPr>
        <p:spPr>
          <a:xfrm>
            <a:off x="13888856" y="6589375"/>
            <a:ext cx="1877291"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dirty="0"/>
              <a:t>Belo Horizonte</a:t>
            </a:r>
          </a:p>
        </p:txBody>
      </p:sp>
      <p:grpSp>
        <p:nvGrpSpPr>
          <p:cNvPr id="738" name="Agrupar 737">
            <a:extLst>
              <a:ext uri="{FF2B5EF4-FFF2-40B4-BE49-F238E27FC236}">
                <a16:creationId xmlns:a16="http://schemas.microsoft.com/office/drawing/2014/main" id="{C274512E-72D8-BD99-E50D-6B2D1569B287}"/>
              </a:ext>
            </a:extLst>
          </p:cNvPr>
          <p:cNvGrpSpPr/>
          <p:nvPr/>
        </p:nvGrpSpPr>
        <p:grpSpPr>
          <a:xfrm>
            <a:off x="12638013" y="6454933"/>
            <a:ext cx="1265972" cy="769549"/>
            <a:chOff x="10543646" y="6833370"/>
            <a:chExt cx="1055847" cy="349753"/>
          </a:xfrm>
        </p:grpSpPr>
        <p:cxnSp>
          <p:nvCxnSpPr>
            <p:cNvPr id="739" name="Conector reto 738">
              <a:extLst>
                <a:ext uri="{FF2B5EF4-FFF2-40B4-BE49-F238E27FC236}">
                  <a16:creationId xmlns:a16="http://schemas.microsoft.com/office/drawing/2014/main" id="{BAC6EDC2-07DA-0D96-BDD5-1ADCBACAD1A8}"/>
                </a:ext>
              </a:extLst>
            </p:cNvPr>
            <p:cNvCxnSpPr>
              <a:cxnSpLocks/>
            </p:cNvCxnSpPr>
            <p:nvPr/>
          </p:nvCxnSpPr>
          <p:spPr>
            <a:xfrm>
              <a:off x="10543646" y="7183123"/>
              <a:ext cx="1055847"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cxnSp>
          <p:nvCxnSpPr>
            <p:cNvPr id="740" name="Conector reto 739">
              <a:extLst>
                <a:ext uri="{FF2B5EF4-FFF2-40B4-BE49-F238E27FC236}">
                  <a16:creationId xmlns:a16="http://schemas.microsoft.com/office/drawing/2014/main" id="{3A300815-309F-1ED4-F794-F3C0C9945131}"/>
                </a:ext>
              </a:extLst>
            </p:cNvPr>
            <p:cNvCxnSpPr>
              <a:cxnSpLocks/>
            </p:cNvCxnSpPr>
            <p:nvPr/>
          </p:nvCxnSpPr>
          <p:spPr>
            <a:xfrm>
              <a:off x="10543646" y="6833370"/>
              <a:ext cx="0" cy="349753"/>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grpSp>
      <p:sp>
        <p:nvSpPr>
          <p:cNvPr id="741" name="CaixaDeTexto 740">
            <a:extLst>
              <a:ext uri="{FF2B5EF4-FFF2-40B4-BE49-F238E27FC236}">
                <a16:creationId xmlns:a16="http://schemas.microsoft.com/office/drawing/2014/main" id="{FC1590BA-06A8-008D-1C7E-58965C90CB5D}"/>
              </a:ext>
            </a:extLst>
          </p:cNvPr>
          <p:cNvSpPr txBox="1"/>
          <p:nvPr/>
        </p:nvSpPr>
        <p:spPr>
          <a:xfrm>
            <a:off x="13888856" y="7034593"/>
            <a:ext cx="1877291"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a:t>São Paulo</a:t>
            </a:r>
          </a:p>
        </p:txBody>
      </p:sp>
      <p:grpSp>
        <p:nvGrpSpPr>
          <p:cNvPr id="762" name="Agrupar 761">
            <a:extLst>
              <a:ext uri="{FF2B5EF4-FFF2-40B4-BE49-F238E27FC236}">
                <a16:creationId xmlns:a16="http://schemas.microsoft.com/office/drawing/2014/main" id="{4DA6BAE8-433E-09D7-72DC-E5CB719D9161}"/>
              </a:ext>
            </a:extLst>
          </p:cNvPr>
          <p:cNvGrpSpPr/>
          <p:nvPr/>
        </p:nvGrpSpPr>
        <p:grpSpPr>
          <a:xfrm>
            <a:off x="12208844" y="5598785"/>
            <a:ext cx="271136" cy="287825"/>
            <a:chOff x="1254810" y="3958423"/>
            <a:chExt cx="450535" cy="478265"/>
          </a:xfrm>
        </p:grpSpPr>
        <p:grpSp>
          <p:nvGrpSpPr>
            <p:cNvPr id="763" name="Agrupar 762">
              <a:extLst>
                <a:ext uri="{FF2B5EF4-FFF2-40B4-BE49-F238E27FC236}">
                  <a16:creationId xmlns:a16="http://schemas.microsoft.com/office/drawing/2014/main" id="{E5887CDE-3F3C-D37E-729D-112A1967C167}"/>
                </a:ext>
              </a:extLst>
            </p:cNvPr>
            <p:cNvGrpSpPr/>
            <p:nvPr/>
          </p:nvGrpSpPr>
          <p:grpSpPr>
            <a:xfrm>
              <a:off x="1254810" y="3958423"/>
              <a:ext cx="450535" cy="473984"/>
              <a:chOff x="1226926" y="3792328"/>
              <a:chExt cx="545688" cy="574090"/>
            </a:xfrm>
          </p:grpSpPr>
          <p:sp>
            <p:nvSpPr>
              <p:cNvPr id="765" name="Forma Livre: Forma 764">
                <a:extLst>
                  <a:ext uri="{FF2B5EF4-FFF2-40B4-BE49-F238E27FC236}">
                    <a16:creationId xmlns:a16="http://schemas.microsoft.com/office/drawing/2014/main" id="{A6D8F0F0-4F87-3BCB-4FD0-1743B3865051}"/>
                  </a:ext>
                </a:extLst>
              </p:cNvPr>
              <p:cNvSpPr/>
              <p:nvPr/>
            </p:nvSpPr>
            <p:spPr>
              <a:xfrm>
                <a:off x="1226926" y="3896444"/>
                <a:ext cx="413399" cy="469974"/>
              </a:xfrm>
              <a:custGeom>
                <a:avLst/>
                <a:gdLst>
                  <a:gd name="connsiteX0" fmla="*/ 275523 w 413399"/>
                  <a:gd name="connsiteY0" fmla="*/ 159925 h 469974"/>
                  <a:gd name="connsiteX1" fmla="*/ 211370 w 413399"/>
                  <a:gd name="connsiteY1" fmla="*/ 53436 h 469974"/>
                  <a:gd name="connsiteX2" fmla="*/ 91943 w 413399"/>
                  <a:gd name="connsiteY2" fmla="*/ 0 h 469974"/>
                  <a:gd name="connsiteX3" fmla="*/ 0 w 413399"/>
                  <a:gd name="connsiteY3" fmla="*/ 163523 h 469974"/>
                  <a:gd name="connsiteX4" fmla="*/ 109015 w 413399"/>
                  <a:gd name="connsiteY4" fmla="*/ 414625 h 469974"/>
                  <a:gd name="connsiteX5" fmla="*/ 230815 w 413399"/>
                  <a:gd name="connsiteY5" fmla="*/ 469975 h 469974"/>
                  <a:gd name="connsiteX6" fmla="*/ 400921 w 413399"/>
                  <a:gd name="connsiteY6" fmla="*/ 469975 h 469974"/>
                  <a:gd name="connsiteX7" fmla="*/ 413400 w 413399"/>
                  <a:gd name="connsiteY7" fmla="*/ 429247 h 469974"/>
                  <a:gd name="connsiteX8" fmla="*/ 383314 w 413399"/>
                  <a:gd name="connsiteY8" fmla="*/ 339065 h 469974"/>
                  <a:gd name="connsiteX9" fmla="*/ 383620 w 413399"/>
                  <a:gd name="connsiteY9" fmla="*/ 268557 h 469974"/>
                  <a:gd name="connsiteX10" fmla="*/ 334088 w 413399"/>
                  <a:gd name="connsiteY10" fmla="*/ 266337 h 469974"/>
                  <a:gd name="connsiteX11" fmla="*/ 318318 w 413399"/>
                  <a:gd name="connsiteY11" fmla="*/ 197743 h 469974"/>
                  <a:gd name="connsiteX12" fmla="*/ 275523 w 413399"/>
                  <a:gd name="connsiteY12" fmla="*/ 159925 h 46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399" h="469974">
                    <a:moveTo>
                      <a:pt x="275523" y="159925"/>
                    </a:moveTo>
                    <a:lnTo>
                      <a:pt x="211370" y="53436"/>
                    </a:lnTo>
                    <a:lnTo>
                      <a:pt x="91943" y="0"/>
                    </a:lnTo>
                    <a:lnTo>
                      <a:pt x="0" y="163523"/>
                    </a:lnTo>
                    <a:lnTo>
                      <a:pt x="109015" y="414625"/>
                    </a:lnTo>
                    <a:lnTo>
                      <a:pt x="230815" y="469975"/>
                    </a:lnTo>
                    <a:lnTo>
                      <a:pt x="400921" y="469975"/>
                    </a:lnTo>
                    <a:lnTo>
                      <a:pt x="413400" y="429247"/>
                    </a:lnTo>
                    <a:lnTo>
                      <a:pt x="383314" y="339065"/>
                    </a:lnTo>
                    <a:lnTo>
                      <a:pt x="383620" y="268557"/>
                    </a:lnTo>
                    <a:lnTo>
                      <a:pt x="334088" y="266337"/>
                    </a:lnTo>
                    <a:lnTo>
                      <a:pt x="318318" y="197743"/>
                    </a:lnTo>
                    <a:lnTo>
                      <a:pt x="275523" y="159925"/>
                    </a:lnTo>
                    <a:close/>
                  </a:path>
                </a:pathLst>
              </a:custGeom>
              <a:noFill/>
              <a:ln w="12700" cap="rnd">
                <a:solidFill>
                  <a:schemeClr val="bg1"/>
                </a:solidFill>
                <a:prstDash val="solid"/>
                <a:round/>
              </a:ln>
            </p:spPr>
            <p:txBody>
              <a:bodyPr rtlCol="0" anchor="ctr"/>
              <a:lstStyle/>
              <a:p>
                <a:endParaRPr lang="pt-BR"/>
              </a:p>
            </p:txBody>
          </p:sp>
          <p:sp>
            <p:nvSpPr>
              <p:cNvPr id="766" name="Forma Livre: Forma 765">
                <a:extLst>
                  <a:ext uri="{FF2B5EF4-FFF2-40B4-BE49-F238E27FC236}">
                    <a16:creationId xmlns:a16="http://schemas.microsoft.com/office/drawing/2014/main" id="{9B577A94-3459-234A-FEC0-D7E1AFE6E918}"/>
                  </a:ext>
                </a:extLst>
              </p:cNvPr>
              <p:cNvSpPr/>
              <p:nvPr/>
            </p:nvSpPr>
            <p:spPr>
              <a:xfrm>
                <a:off x="1629609" y="4162780"/>
                <a:ext cx="44708" cy="125780"/>
              </a:xfrm>
              <a:custGeom>
                <a:avLst/>
                <a:gdLst>
                  <a:gd name="connsiteX0" fmla="*/ 44708 w 44708"/>
                  <a:gd name="connsiteY0" fmla="*/ 0 h 125780"/>
                  <a:gd name="connsiteX1" fmla="*/ 0 w 44708"/>
                  <a:gd name="connsiteY1" fmla="*/ 125781 h 125780"/>
                </a:gdLst>
                <a:ahLst/>
                <a:cxnLst>
                  <a:cxn ang="0">
                    <a:pos x="connsiteX0" y="connsiteY0"/>
                  </a:cxn>
                  <a:cxn ang="0">
                    <a:pos x="connsiteX1" y="connsiteY1"/>
                  </a:cxn>
                </a:cxnLst>
                <a:rect l="l" t="t" r="r" b="b"/>
                <a:pathLst>
                  <a:path w="44708" h="125780">
                    <a:moveTo>
                      <a:pt x="44708" y="0"/>
                    </a:moveTo>
                    <a:lnTo>
                      <a:pt x="0" y="125781"/>
                    </a:lnTo>
                  </a:path>
                </a:pathLst>
              </a:custGeom>
              <a:ln w="12700" cap="rnd">
                <a:solidFill>
                  <a:schemeClr val="bg1"/>
                </a:solidFill>
                <a:prstDash val="solid"/>
                <a:round/>
              </a:ln>
            </p:spPr>
            <p:txBody>
              <a:bodyPr rtlCol="0" anchor="ctr"/>
              <a:lstStyle/>
              <a:p>
                <a:endParaRPr lang="pt-BR"/>
              </a:p>
            </p:txBody>
          </p:sp>
          <p:sp>
            <p:nvSpPr>
              <p:cNvPr id="767" name="Forma Livre: Forma 766">
                <a:extLst>
                  <a:ext uri="{FF2B5EF4-FFF2-40B4-BE49-F238E27FC236}">
                    <a16:creationId xmlns:a16="http://schemas.microsoft.com/office/drawing/2014/main" id="{283F6F51-0EEC-811C-61D1-F24024D636BC}"/>
                  </a:ext>
                </a:extLst>
              </p:cNvPr>
              <p:cNvSpPr/>
              <p:nvPr/>
            </p:nvSpPr>
            <p:spPr>
              <a:xfrm>
                <a:off x="1457741" y="3883751"/>
                <a:ext cx="270803" cy="179660"/>
              </a:xfrm>
              <a:custGeom>
                <a:avLst/>
                <a:gdLst>
                  <a:gd name="connsiteX0" fmla="*/ 0 w 270803"/>
                  <a:gd name="connsiteY0" fmla="*/ 98435 h 179660"/>
                  <a:gd name="connsiteX1" fmla="*/ 64230 w 270803"/>
                  <a:gd name="connsiteY1" fmla="*/ 18970 h 179660"/>
                  <a:gd name="connsiteX2" fmla="*/ 113302 w 270803"/>
                  <a:gd name="connsiteY2" fmla="*/ 2817 h 179660"/>
                  <a:gd name="connsiteX3" fmla="*/ 245207 w 270803"/>
                  <a:gd name="connsiteY3" fmla="*/ 70568 h 179660"/>
                  <a:gd name="connsiteX4" fmla="*/ 268633 w 270803"/>
                  <a:gd name="connsiteY4" fmla="*/ 121172 h 179660"/>
                  <a:gd name="connsiteX5" fmla="*/ 251944 w 270803"/>
                  <a:gd name="connsiteY5" fmla="*/ 179660 h 17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03" h="179660">
                    <a:moveTo>
                      <a:pt x="0" y="98435"/>
                    </a:moveTo>
                    <a:lnTo>
                      <a:pt x="64230" y="18970"/>
                    </a:lnTo>
                    <a:cubicBezTo>
                      <a:pt x="74565" y="2434"/>
                      <a:pt x="95159" y="-4303"/>
                      <a:pt x="113302" y="2817"/>
                    </a:cubicBezTo>
                    <a:lnTo>
                      <a:pt x="245207" y="70568"/>
                    </a:lnTo>
                    <a:cubicBezTo>
                      <a:pt x="265265" y="78454"/>
                      <a:pt x="275600" y="100808"/>
                      <a:pt x="268633" y="121172"/>
                    </a:cubicBezTo>
                    <a:lnTo>
                      <a:pt x="251944" y="179660"/>
                    </a:lnTo>
                  </a:path>
                </a:pathLst>
              </a:custGeom>
              <a:noFill/>
              <a:ln w="12700" cap="rnd">
                <a:solidFill>
                  <a:schemeClr val="bg1"/>
                </a:solidFill>
                <a:prstDash val="solid"/>
                <a:round/>
              </a:ln>
            </p:spPr>
            <p:txBody>
              <a:bodyPr rtlCol="0" anchor="ctr"/>
              <a:lstStyle/>
              <a:p>
                <a:endParaRPr lang="pt-BR"/>
              </a:p>
            </p:txBody>
          </p:sp>
          <p:sp>
            <p:nvSpPr>
              <p:cNvPr id="768" name="Forma Livre: Forma 767">
                <a:extLst>
                  <a:ext uri="{FF2B5EF4-FFF2-40B4-BE49-F238E27FC236}">
                    <a16:creationId xmlns:a16="http://schemas.microsoft.com/office/drawing/2014/main" id="{9B213E8B-17EB-55C3-B0EC-FF04E64191C1}"/>
                  </a:ext>
                </a:extLst>
              </p:cNvPr>
              <p:cNvSpPr/>
              <p:nvPr/>
            </p:nvSpPr>
            <p:spPr>
              <a:xfrm>
                <a:off x="1226926" y="4025440"/>
                <a:ext cx="166278" cy="35904"/>
              </a:xfrm>
              <a:custGeom>
                <a:avLst/>
                <a:gdLst>
                  <a:gd name="connsiteX0" fmla="*/ 0 w 166278"/>
                  <a:gd name="connsiteY0" fmla="*/ 34527 h 35904"/>
                  <a:gd name="connsiteX1" fmla="*/ 85513 w 166278"/>
                  <a:gd name="connsiteY1" fmla="*/ 35905 h 35904"/>
                  <a:gd name="connsiteX2" fmla="*/ 166279 w 166278"/>
                  <a:gd name="connsiteY2" fmla="*/ 0 h 35904"/>
                </a:gdLst>
                <a:ahLst/>
                <a:cxnLst>
                  <a:cxn ang="0">
                    <a:pos x="connsiteX0" y="connsiteY0"/>
                  </a:cxn>
                  <a:cxn ang="0">
                    <a:pos x="connsiteX1" y="connsiteY1"/>
                  </a:cxn>
                  <a:cxn ang="0">
                    <a:pos x="connsiteX2" y="connsiteY2"/>
                  </a:cxn>
                </a:cxnLst>
                <a:rect l="l" t="t" r="r" b="b"/>
                <a:pathLst>
                  <a:path w="166278" h="35904">
                    <a:moveTo>
                      <a:pt x="0" y="34527"/>
                    </a:moveTo>
                    <a:lnTo>
                      <a:pt x="85513" y="35905"/>
                    </a:lnTo>
                    <a:lnTo>
                      <a:pt x="166279" y="0"/>
                    </a:lnTo>
                  </a:path>
                </a:pathLst>
              </a:custGeom>
              <a:noFill/>
              <a:ln w="12700" cap="rnd">
                <a:solidFill>
                  <a:schemeClr val="bg1"/>
                </a:solidFill>
                <a:prstDash val="solid"/>
                <a:round/>
              </a:ln>
            </p:spPr>
            <p:txBody>
              <a:bodyPr rtlCol="0" anchor="ctr"/>
              <a:lstStyle/>
              <a:p>
                <a:endParaRPr lang="pt-BR"/>
              </a:p>
            </p:txBody>
          </p:sp>
          <p:sp>
            <p:nvSpPr>
              <p:cNvPr id="769" name="Forma Livre: Forma 768">
                <a:extLst>
                  <a:ext uri="{FF2B5EF4-FFF2-40B4-BE49-F238E27FC236}">
                    <a16:creationId xmlns:a16="http://schemas.microsoft.com/office/drawing/2014/main" id="{9D9AB8E7-13A7-DDD6-D926-B2FE5BDE4497}"/>
                  </a:ext>
                </a:extLst>
              </p:cNvPr>
              <p:cNvSpPr/>
              <p:nvPr/>
            </p:nvSpPr>
            <p:spPr>
              <a:xfrm>
                <a:off x="1335941" y="4255260"/>
                <a:ext cx="137799" cy="55808"/>
              </a:xfrm>
              <a:custGeom>
                <a:avLst/>
                <a:gdLst>
                  <a:gd name="connsiteX0" fmla="*/ 0 w 137799"/>
                  <a:gd name="connsiteY0" fmla="*/ 55809 h 55808"/>
                  <a:gd name="connsiteX1" fmla="*/ 58718 w 137799"/>
                  <a:gd name="connsiteY1" fmla="*/ 0 h 55808"/>
                  <a:gd name="connsiteX2" fmla="*/ 137800 w 137799"/>
                  <a:gd name="connsiteY2" fmla="*/ 33455 h 55808"/>
                </a:gdLst>
                <a:ahLst/>
                <a:cxnLst>
                  <a:cxn ang="0">
                    <a:pos x="connsiteX0" y="connsiteY0"/>
                  </a:cxn>
                  <a:cxn ang="0">
                    <a:pos x="connsiteX1" y="connsiteY1"/>
                  </a:cxn>
                  <a:cxn ang="0">
                    <a:pos x="connsiteX2" y="connsiteY2"/>
                  </a:cxn>
                </a:cxnLst>
                <a:rect l="l" t="t" r="r" b="b"/>
                <a:pathLst>
                  <a:path w="137799" h="55808">
                    <a:moveTo>
                      <a:pt x="0" y="55809"/>
                    </a:moveTo>
                    <a:lnTo>
                      <a:pt x="58718" y="0"/>
                    </a:lnTo>
                    <a:lnTo>
                      <a:pt x="137800" y="33455"/>
                    </a:lnTo>
                  </a:path>
                </a:pathLst>
              </a:custGeom>
              <a:noFill/>
              <a:ln w="12700" cap="rnd">
                <a:solidFill>
                  <a:schemeClr val="bg1"/>
                </a:solidFill>
                <a:prstDash val="solid"/>
                <a:round/>
              </a:ln>
            </p:spPr>
            <p:txBody>
              <a:bodyPr rtlCol="0" anchor="ctr"/>
              <a:lstStyle/>
              <a:p>
                <a:endParaRPr lang="pt-BR"/>
              </a:p>
            </p:txBody>
          </p:sp>
          <p:sp>
            <p:nvSpPr>
              <p:cNvPr id="770" name="Forma Livre: Forma 769">
                <a:extLst>
                  <a:ext uri="{FF2B5EF4-FFF2-40B4-BE49-F238E27FC236}">
                    <a16:creationId xmlns:a16="http://schemas.microsoft.com/office/drawing/2014/main" id="{F44D54F2-80B1-40EE-A48E-B937E26F44F6}"/>
                  </a:ext>
                </a:extLst>
              </p:cNvPr>
              <p:cNvSpPr/>
              <p:nvPr/>
            </p:nvSpPr>
            <p:spPr>
              <a:xfrm>
                <a:off x="1583752" y="4327528"/>
                <a:ext cx="44095" cy="38890"/>
              </a:xfrm>
              <a:custGeom>
                <a:avLst/>
                <a:gdLst>
                  <a:gd name="connsiteX0" fmla="*/ 44096 w 44095"/>
                  <a:gd name="connsiteY0" fmla="*/ 38890 h 38890"/>
                  <a:gd name="connsiteX1" fmla="*/ 0 w 44095"/>
                  <a:gd name="connsiteY1" fmla="*/ 0 h 38890"/>
                </a:gdLst>
                <a:ahLst/>
                <a:cxnLst>
                  <a:cxn ang="0">
                    <a:pos x="connsiteX0" y="connsiteY0"/>
                  </a:cxn>
                  <a:cxn ang="0">
                    <a:pos x="connsiteX1" y="connsiteY1"/>
                  </a:cxn>
                </a:cxnLst>
                <a:rect l="l" t="t" r="r" b="b"/>
                <a:pathLst>
                  <a:path w="44095" h="38890">
                    <a:moveTo>
                      <a:pt x="44096" y="38890"/>
                    </a:moveTo>
                    <a:lnTo>
                      <a:pt x="0" y="0"/>
                    </a:lnTo>
                  </a:path>
                </a:pathLst>
              </a:custGeom>
              <a:ln w="12700" cap="rnd">
                <a:solidFill>
                  <a:schemeClr val="bg1"/>
                </a:solidFill>
                <a:prstDash val="solid"/>
                <a:round/>
              </a:ln>
            </p:spPr>
            <p:txBody>
              <a:bodyPr rtlCol="0" anchor="ctr"/>
              <a:lstStyle/>
              <a:p>
                <a:endParaRPr lang="pt-BR"/>
              </a:p>
            </p:txBody>
          </p:sp>
          <p:sp>
            <p:nvSpPr>
              <p:cNvPr id="771" name="Forma Livre: Forma 770">
                <a:extLst>
                  <a:ext uri="{FF2B5EF4-FFF2-40B4-BE49-F238E27FC236}">
                    <a16:creationId xmlns:a16="http://schemas.microsoft.com/office/drawing/2014/main" id="{4B8F0505-27F1-8A3A-54E1-9C32E827EE37}"/>
                  </a:ext>
                </a:extLst>
              </p:cNvPr>
              <p:cNvSpPr/>
              <p:nvPr/>
            </p:nvSpPr>
            <p:spPr>
              <a:xfrm>
                <a:off x="1580843" y="3792328"/>
                <a:ext cx="79005" cy="79005"/>
              </a:xfrm>
              <a:custGeom>
                <a:avLst/>
                <a:gdLst>
                  <a:gd name="connsiteX0" fmla="*/ 39503 w 79005"/>
                  <a:gd name="connsiteY0" fmla="*/ 79005 h 79005"/>
                  <a:gd name="connsiteX1" fmla="*/ 0 w 79005"/>
                  <a:gd name="connsiteY1" fmla="*/ 39503 h 79005"/>
                  <a:gd name="connsiteX2" fmla="*/ 39503 w 79005"/>
                  <a:gd name="connsiteY2" fmla="*/ 0 h 79005"/>
                  <a:gd name="connsiteX3" fmla="*/ 79005 w 79005"/>
                  <a:gd name="connsiteY3" fmla="*/ 39503 h 79005"/>
                  <a:gd name="connsiteX4" fmla="*/ 39503 w 79005"/>
                  <a:gd name="connsiteY4" fmla="*/ 79005 h 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05" h="79005">
                    <a:moveTo>
                      <a:pt x="39503" y="79005"/>
                    </a:moveTo>
                    <a:cubicBezTo>
                      <a:pt x="33684" y="61168"/>
                      <a:pt x="17761" y="45321"/>
                      <a:pt x="0" y="39503"/>
                    </a:cubicBezTo>
                    <a:cubicBezTo>
                      <a:pt x="17837" y="33684"/>
                      <a:pt x="33684" y="17761"/>
                      <a:pt x="39503" y="0"/>
                    </a:cubicBezTo>
                    <a:cubicBezTo>
                      <a:pt x="45321" y="17761"/>
                      <a:pt x="61244" y="33684"/>
                      <a:pt x="79005" y="39503"/>
                    </a:cubicBezTo>
                    <a:cubicBezTo>
                      <a:pt x="61168" y="45321"/>
                      <a:pt x="45321" y="61244"/>
                      <a:pt x="39503" y="79005"/>
                    </a:cubicBezTo>
                    <a:close/>
                  </a:path>
                </a:pathLst>
              </a:custGeom>
              <a:noFill/>
              <a:ln w="12700" cap="rnd">
                <a:solidFill>
                  <a:schemeClr val="bg1"/>
                </a:solidFill>
                <a:prstDash val="solid"/>
                <a:round/>
              </a:ln>
            </p:spPr>
            <p:txBody>
              <a:bodyPr rtlCol="0" anchor="ctr"/>
              <a:lstStyle/>
              <a:p>
                <a:endParaRPr lang="pt-BR"/>
              </a:p>
            </p:txBody>
          </p:sp>
          <p:sp>
            <p:nvSpPr>
              <p:cNvPr id="772" name="Forma Livre: Forma 771">
                <a:extLst>
                  <a:ext uri="{FF2B5EF4-FFF2-40B4-BE49-F238E27FC236}">
                    <a16:creationId xmlns:a16="http://schemas.microsoft.com/office/drawing/2014/main" id="{1B9F1443-0723-917C-B208-6DE050C949F1}"/>
                  </a:ext>
                </a:extLst>
              </p:cNvPr>
              <p:cNvSpPr/>
              <p:nvPr/>
            </p:nvSpPr>
            <p:spPr>
              <a:xfrm>
                <a:off x="1662757" y="4082321"/>
                <a:ext cx="62316" cy="62316"/>
              </a:xfrm>
              <a:custGeom>
                <a:avLst/>
                <a:gdLst>
                  <a:gd name="connsiteX0" fmla="*/ 31158 w 62316"/>
                  <a:gd name="connsiteY0" fmla="*/ 62316 h 62316"/>
                  <a:gd name="connsiteX1" fmla="*/ 0 w 62316"/>
                  <a:gd name="connsiteY1" fmla="*/ 31158 h 62316"/>
                  <a:gd name="connsiteX2" fmla="*/ 31158 w 62316"/>
                  <a:gd name="connsiteY2" fmla="*/ 0 h 62316"/>
                  <a:gd name="connsiteX3" fmla="*/ 62316 w 62316"/>
                  <a:gd name="connsiteY3" fmla="*/ 31158 h 62316"/>
                  <a:gd name="connsiteX4" fmla="*/ 31158 w 62316"/>
                  <a:gd name="connsiteY4" fmla="*/ 62316 h 62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16" h="62316">
                    <a:moveTo>
                      <a:pt x="31158" y="62316"/>
                    </a:moveTo>
                    <a:cubicBezTo>
                      <a:pt x="26565" y="48307"/>
                      <a:pt x="14010" y="35751"/>
                      <a:pt x="0" y="31158"/>
                    </a:cubicBezTo>
                    <a:cubicBezTo>
                      <a:pt x="14010" y="26565"/>
                      <a:pt x="26565" y="14010"/>
                      <a:pt x="31158" y="0"/>
                    </a:cubicBezTo>
                    <a:cubicBezTo>
                      <a:pt x="35751" y="14010"/>
                      <a:pt x="48307" y="26565"/>
                      <a:pt x="62316" y="31158"/>
                    </a:cubicBezTo>
                    <a:cubicBezTo>
                      <a:pt x="48307" y="35751"/>
                      <a:pt x="35751" y="48307"/>
                      <a:pt x="31158" y="62316"/>
                    </a:cubicBezTo>
                    <a:close/>
                  </a:path>
                </a:pathLst>
              </a:custGeom>
              <a:noFill/>
              <a:ln w="12700" cap="rnd">
                <a:solidFill>
                  <a:schemeClr val="bg1"/>
                </a:solidFill>
                <a:prstDash val="solid"/>
                <a:round/>
              </a:ln>
            </p:spPr>
            <p:txBody>
              <a:bodyPr rtlCol="0" anchor="ctr"/>
              <a:lstStyle/>
              <a:p>
                <a:endParaRPr lang="pt-BR"/>
              </a:p>
            </p:txBody>
          </p:sp>
          <p:sp>
            <p:nvSpPr>
              <p:cNvPr id="773" name="Forma Livre: Forma 772">
                <a:extLst>
                  <a:ext uri="{FF2B5EF4-FFF2-40B4-BE49-F238E27FC236}">
                    <a16:creationId xmlns:a16="http://schemas.microsoft.com/office/drawing/2014/main" id="{8716E426-796A-37DC-F1D2-3192B06DBE91}"/>
                  </a:ext>
                </a:extLst>
              </p:cNvPr>
              <p:cNvSpPr/>
              <p:nvPr/>
            </p:nvSpPr>
            <p:spPr>
              <a:xfrm>
                <a:off x="1560020" y="3971391"/>
                <a:ext cx="7655" cy="47464"/>
              </a:xfrm>
              <a:custGeom>
                <a:avLst/>
                <a:gdLst>
                  <a:gd name="connsiteX0" fmla="*/ 0 w 7655"/>
                  <a:gd name="connsiteY0" fmla="*/ 0 h 47464"/>
                  <a:gd name="connsiteX1" fmla="*/ 0 w 7655"/>
                  <a:gd name="connsiteY1" fmla="*/ 47464 h 47464"/>
                </a:gdLst>
                <a:ahLst/>
                <a:cxnLst>
                  <a:cxn ang="0">
                    <a:pos x="connsiteX0" y="connsiteY0"/>
                  </a:cxn>
                  <a:cxn ang="0">
                    <a:pos x="connsiteX1" y="connsiteY1"/>
                  </a:cxn>
                </a:cxnLst>
                <a:rect l="l" t="t" r="r" b="b"/>
                <a:pathLst>
                  <a:path w="7655" h="47464">
                    <a:moveTo>
                      <a:pt x="0" y="0"/>
                    </a:moveTo>
                    <a:lnTo>
                      <a:pt x="0" y="47464"/>
                    </a:lnTo>
                  </a:path>
                </a:pathLst>
              </a:custGeom>
              <a:ln w="12700" cap="rnd">
                <a:solidFill>
                  <a:schemeClr val="bg1"/>
                </a:solidFill>
                <a:prstDash val="solid"/>
                <a:round/>
              </a:ln>
            </p:spPr>
            <p:txBody>
              <a:bodyPr rtlCol="0" anchor="ctr"/>
              <a:lstStyle/>
              <a:p>
                <a:endParaRPr lang="pt-BR"/>
              </a:p>
            </p:txBody>
          </p:sp>
          <p:sp>
            <p:nvSpPr>
              <p:cNvPr id="774" name="Forma Livre: Forma 773">
                <a:extLst>
                  <a:ext uri="{FF2B5EF4-FFF2-40B4-BE49-F238E27FC236}">
                    <a16:creationId xmlns:a16="http://schemas.microsoft.com/office/drawing/2014/main" id="{CA6CBF07-F989-8163-CE14-F8156BA2C9C8}"/>
                  </a:ext>
                </a:extLst>
              </p:cNvPr>
              <p:cNvSpPr/>
              <p:nvPr/>
            </p:nvSpPr>
            <p:spPr>
              <a:xfrm>
                <a:off x="1536287" y="3995124"/>
                <a:ext cx="47464" cy="7655"/>
              </a:xfrm>
              <a:custGeom>
                <a:avLst/>
                <a:gdLst>
                  <a:gd name="connsiteX0" fmla="*/ 0 w 47464"/>
                  <a:gd name="connsiteY0" fmla="*/ 0 h 7655"/>
                  <a:gd name="connsiteX1" fmla="*/ 47464 w 47464"/>
                  <a:gd name="connsiteY1" fmla="*/ 0 h 7655"/>
                </a:gdLst>
                <a:ahLst/>
                <a:cxnLst>
                  <a:cxn ang="0">
                    <a:pos x="connsiteX0" y="connsiteY0"/>
                  </a:cxn>
                  <a:cxn ang="0">
                    <a:pos x="connsiteX1" y="connsiteY1"/>
                  </a:cxn>
                </a:cxnLst>
                <a:rect l="l" t="t" r="r" b="b"/>
                <a:pathLst>
                  <a:path w="47464" h="7655">
                    <a:moveTo>
                      <a:pt x="0" y="0"/>
                    </a:moveTo>
                    <a:lnTo>
                      <a:pt x="47464" y="0"/>
                    </a:lnTo>
                  </a:path>
                </a:pathLst>
              </a:custGeom>
              <a:ln w="12700" cap="rnd">
                <a:solidFill>
                  <a:schemeClr val="bg1"/>
                </a:solidFill>
                <a:prstDash val="solid"/>
                <a:round/>
              </a:ln>
            </p:spPr>
            <p:txBody>
              <a:bodyPr rtlCol="0" anchor="ctr"/>
              <a:lstStyle/>
              <a:p>
                <a:endParaRPr lang="pt-BR"/>
              </a:p>
            </p:txBody>
          </p:sp>
          <p:sp>
            <p:nvSpPr>
              <p:cNvPr id="775" name="Forma Livre: Forma 774">
                <a:extLst>
                  <a:ext uri="{FF2B5EF4-FFF2-40B4-BE49-F238E27FC236}">
                    <a16:creationId xmlns:a16="http://schemas.microsoft.com/office/drawing/2014/main" id="{58A20771-787A-FB33-174B-B67B7F63713A}"/>
                  </a:ext>
                </a:extLst>
              </p:cNvPr>
              <p:cNvSpPr/>
              <p:nvPr/>
            </p:nvSpPr>
            <p:spPr>
              <a:xfrm>
                <a:off x="1560020" y="4162780"/>
                <a:ext cx="995" cy="52134"/>
              </a:xfrm>
              <a:custGeom>
                <a:avLst/>
                <a:gdLst>
                  <a:gd name="connsiteX0" fmla="*/ 995 w 995"/>
                  <a:gd name="connsiteY0" fmla="*/ 0 h 52134"/>
                  <a:gd name="connsiteX1" fmla="*/ 0 w 995"/>
                  <a:gd name="connsiteY1" fmla="*/ 52134 h 52134"/>
                </a:gdLst>
                <a:ahLst/>
                <a:cxnLst>
                  <a:cxn ang="0">
                    <a:pos x="connsiteX0" y="connsiteY0"/>
                  </a:cxn>
                  <a:cxn ang="0">
                    <a:pos x="connsiteX1" y="connsiteY1"/>
                  </a:cxn>
                </a:cxnLst>
                <a:rect l="l" t="t" r="r" b="b"/>
                <a:pathLst>
                  <a:path w="995" h="52134">
                    <a:moveTo>
                      <a:pt x="995" y="0"/>
                    </a:moveTo>
                    <a:lnTo>
                      <a:pt x="0" y="52134"/>
                    </a:lnTo>
                  </a:path>
                </a:pathLst>
              </a:custGeom>
              <a:ln w="12700" cap="rnd">
                <a:solidFill>
                  <a:schemeClr val="bg1"/>
                </a:solidFill>
                <a:prstDash val="solid"/>
                <a:round/>
              </a:ln>
            </p:spPr>
            <p:txBody>
              <a:bodyPr rtlCol="0" anchor="ctr"/>
              <a:lstStyle/>
              <a:p>
                <a:endParaRPr lang="pt-BR"/>
              </a:p>
            </p:txBody>
          </p:sp>
          <p:sp>
            <p:nvSpPr>
              <p:cNvPr id="776" name="Forma Livre: Forma 775">
                <a:extLst>
                  <a:ext uri="{FF2B5EF4-FFF2-40B4-BE49-F238E27FC236}">
                    <a16:creationId xmlns:a16="http://schemas.microsoft.com/office/drawing/2014/main" id="{6B0587C1-2398-C695-07B3-8D4F0FEE1628}"/>
                  </a:ext>
                </a:extLst>
              </p:cNvPr>
              <p:cNvSpPr/>
              <p:nvPr/>
            </p:nvSpPr>
            <p:spPr>
              <a:xfrm>
                <a:off x="1388305" y="4056368"/>
                <a:ext cx="114144" cy="141551"/>
              </a:xfrm>
              <a:custGeom>
                <a:avLst/>
                <a:gdLst>
                  <a:gd name="connsiteX0" fmla="*/ 114144 w 114144"/>
                  <a:gd name="connsiteY0" fmla="*/ 0 h 141551"/>
                  <a:gd name="connsiteX1" fmla="*/ 51369 w 114144"/>
                  <a:gd name="connsiteY1" fmla="*/ 44096 h 141551"/>
                  <a:gd name="connsiteX2" fmla="*/ 45091 w 114144"/>
                  <a:gd name="connsiteY2" fmla="*/ 120575 h 141551"/>
                  <a:gd name="connsiteX3" fmla="*/ 0 w 114144"/>
                  <a:gd name="connsiteY3" fmla="*/ 141551 h 141551"/>
                </a:gdLst>
                <a:ahLst/>
                <a:cxnLst>
                  <a:cxn ang="0">
                    <a:pos x="connsiteX0" y="connsiteY0"/>
                  </a:cxn>
                  <a:cxn ang="0">
                    <a:pos x="connsiteX1" y="connsiteY1"/>
                  </a:cxn>
                  <a:cxn ang="0">
                    <a:pos x="connsiteX2" y="connsiteY2"/>
                  </a:cxn>
                  <a:cxn ang="0">
                    <a:pos x="connsiteX3" y="connsiteY3"/>
                  </a:cxn>
                </a:cxnLst>
                <a:rect l="l" t="t" r="r" b="b"/>
                <a:pathLst>
                  <a:path w="114144" h="141551">
                    <a:moveTo>
                      <a:pt x="114144" y="0"/>
                    </a:moveTo>
                    <a:lnTo>
                      <a:pt x="51369" y="44096"/>
                    </a:lnTo>
                    <a:lnTo>
                      <a:pt x="45091" y="120575"/>
                    </a:lnTo>
                    <a:lnTo>
                      <a:pt x="0" y="141551"/>
                    </a:lnTo>
                  </a:path>
                </a:pathLst>
              </a:custGeom>
              <a:noFill/>
              <a:ln w="12700" cap="rnd">
                <a:solidFill>
                  <a:schemeClr val="bg1"/>
                </a:solidFill>
                <a:prstDash val="solid"/>
                <a:round/>
              </a:ln>
            </p:spPr>
            <p:txBody>
              <a:bodyPr rtlCol="0" anchor="ctr"/>
              <a:lstStyle/>
              <a:p>
                <a:endParaRPr lang="pt-BR"/>
              </a:p>
            </p:txBody>
          </p:sp>
          <p:sp>
            <p:nvSpPr>
              <p:cNvPr id="777" name="Forma Livre: Forma 776">
                <a:extLst>
                  <a:ext uri="{FF2B5EF4-FFF2-40B4-BE49-F238E27FC236}">
                    <a16:creationId xmlns:a16="http://schemas.microsoft.com/office/drawing/2014/main" id="{9A331721-1459-CB66-324C-A825F10EEB71}"/>
                  </a:ext>
                </a:extLst>
              </p:cNvPr>
              <p:cNvSpPr/>
              <p:nvPr/>
            </p:nvSpPr>
            <p:spPr>
              <a:xfrm>
                <a:off x="1392439" y="4100464"/>
                <a:ext cx="47234" cy="7655"/>
              </a:xfrm>
              <a:custGeom>
                <a:avLst/>
                <a:gdLst>
                  <a:gd name="connsiteX0" fmla="*/ 47235 w 47234"/>
                  <a:gd name="connsiteY0" fmla="*/ 0 h 7655"/>
                  <a:gd name="connsiteX1" fmla="*/ 0 w 47234"/>
                  <a:gd name="connsiteY1" fmla="*/ 7656 h 7655"/>
                </a:gdLst>
                <a:ahLst/>
                <a:cxnLst>
                  <a:cxn ang="0">
                    <a:pos x="connsiteX0" y="connsiteY0"/>
                  </a:cxn>
                  <a:cxn ang="0">
                    <a:pos x="connsiteX1" y="connsiteY1"/>
                  </a:cxn>
                </a:cxnLst>
                <a:rect l="l" t="t" r="r" b="b"/>
                <a:pathLst>
                  <a:path w="47234" h="7655">
                    <a:moveTo>
                      <a:pt x="47235" y="0"/>
                    </a:moveTo>
                    <a:lnTo>
                      <a:pt x="0" y="7656"/>
                    </a:lnTo>
                  </a:path>
                </a:pathLst>
              </a:custGeom>
              <a:ln w="12700" cap="rnd">
                <a:solidFill>
                  <a:schemeClr val="bg1"/>
                </a:solidFill>
                <a:prstDash val="solid"/>
                <a:round/>
              </a:ln>
            </p:spPr>
            <p:txBody>
              <a:bodyPr rtlCol="0" anchor="ctr"/>
              <a:lstStyle/>
              <a:p>
                <a:endParaRPr lang="pt-BR"/>
              </a:p>
            </p:txBody>
          </p:sp>
          <p:sp>
            <p:nvSpPr>
              <p:cNvPr id="778" name="Forma Livre: Forma 777">
                <a:extLst>
                  <a:ext uri="{FF2B5EF4-FFF2-40B4-BE49-F238E27FC236}">
                    <a16:creationId xmlns:a16="http://schemas.microsoft.com/office/drawing/2014/main" id="{B1434557-9A89-0080-2DFE-CE763226E926}"/>
                  </a:ext>
                </a:extLst>
              </p:cNvPr>
              <p:cNvSpPr/>
              <p:nvPr/>
            </p:nvSpPr>
            <p:spPr>
              <a:xfrm>
                <a:off x="1331118" y="4135374"/>
                <a:ext cx="33071" cy="37741"/>
              </a:xfrm>
              <a:custGeom>
                <a:avLst/>
                <a:gdLst>
                  <a:gd name="connsiteX0" fmla="*/ 33072 w 33071"/>
                  <a:gd name="connsiteY0" fmla="*/ 0 h 37741"/>
                  <a:gd name="connsiteX1" fmla="*/ 0 w 33071"/>
                  <a:gd name="connsiteY1" fmla="*/ 37742 h 37741"/>
                </a:gdLst>
                <a:ahLst/>
                <a:cxnLst>
                  <a:cxn ang="0">
                    <a:pos x="connsiteX0" y="connsiteY0"/>
                  </a:cxn>
                  <a:cxn ang="0">
                    <a:pos x="connsiteX1" y="connsiteY1"/>
                  </a:cxn>
                </a:cxnLst>
                <a:rect l="l" t="t" r="r" b="b"/>
                <a:pathLst>
                  <a:path w="33071" h="37741">
                    <a:moveTo>
                      <a:pt x="33072" y="0"/>
                    </a:moveTo>
                    <a:lnTo>
                      <a:pt x="0" y="37742"/>
                    </a:lnTo>
                  </a:path>
                </a:pathLst>
              </a:custGeom>
              <a:ln w="12700" cap="rnd">
                <a:solidFill>
                  <a:schemeClr val="bg1"/>
                </a:solidFill>
                <a:prstDash val="solid"/>
                <a:round/>
              </a:ln>
            </p:spPr>
            <p:txBody>
              <a:bodyPr rtlCol="0" anchor="ctr"/>
              <a:lstStyle/>
              <a:p>
                <a:endParaRPr lang="pt-BR"/>
              </a:p>
            </p:txBody>
          </p:sp>
          <p:sp>
            <p:nvSpPr>
              <p:cNvPr id="779" name="Forma Livre: Forma 778">
                <a:extLst>
                  <a:ext uri="{FF2B5EF4-FFF2-40B4-BE49-F238E27FC236}">
                    <a16:creationId xmlns:a16="http://schemas.microsoft.com/office/drawing/2014/main" id="{DB3CE9CC-58E3-D5F8-1FBA-70818499FA0F}"/>
                  </a:ext>
                </a:extLst>
              </p:cNvPr>
              <p:cNvSpPr/>
              <p:nvPr/>
            </p:nvSpPr>
            <p:spPr>
              <a:xfrm>
                <a:off x="1750566" y="3904941"/>
                <a:ext cx="7655" cy="44019"/>
              </a:xfrm>
              <a:custGeom>
                <a:avLst/>
                <a:gdLst>
                  <a:gd name="connsiteX0" fmla="*/ 0 w 7655"/>
                  <a:gd name="connsiteY0" fmla="*/ 0 h 44019"/>
                  <a:gd name="connsiteX1" fmla="*/ 0 w 7655"/>
                  <a:gd name="connsiteY1" fmla="*/ 44019 h 44019"/>
                </a:gdLst>
                <a:ahLst/>
                <a:cxnLst>
                  <a:cxn ang="0">
                    <a:pos x="connsiteX0" y="connsiteY0"/>
                  </a:cxn>
                  <a:cxn ang="0">
                    <a:pos x="connsiteX1" y="connsiteY1"/>
                  </a:cxn>
                </a:cxnLst>
                <a:rect l="l" t="t" r="r" b="b"/>
                <a:pathLst>
                  <a:path w="7655" h="44019">
                    <a:moveTo>
                      <a:pt x="0" y="0"/>
                    </a:moveTo>
                    <a:lnTo>
                      <a:pt x="0" y="44019"/>
                    </a:lnTo>
                  </a:path>
                </a:pathLst>
              </a:custGeom>
              <a:ln w="12700" cap="rnd">
                <a:solidFill>
                  <a:schemeClr val="bg1"/>
                </a:solidFill>
                <a:prstDash val="solid"/>
                <a:round/>
              </a:ln>
            </p:spPr>
            <p:txBody>
              <a:bodyPr rtlCol="0" anchor="ctr"/>
              <a:lstStyle/>
              <a:p>
                <a:endParaRPr lang="pt-BR"/>
              </a:p>
            </p:txBody>
          </p:sp>
          <p:sp>
            <p:nvSpPr>
              <p:cNvPr id="780" name="Forma Livre: Forma 779">
                <a:extLst>
                  <a:ext uri="{FF2B5EF4-FFF2-40B4-BE49-F238E27FC236}">
                    <a16:creationId xmlns:a16="http://schemas.microsoft.com/office/drawing/2014/main" id="{55377D4D-42EF-D66D-7872-1C84A085B374}"/>
                  </a:ext>
                </a:extLst>
              </p:cNvPr>
              <p:cNvSpPr/>
              <p:nvPr/>
            </p:nvSpPr>
            <p:spPr>
              <a:xfrm>
                <a:off x="1728595" y="3926989"/>
                <a:ext cx="44019" cy="7655"/>
              </a:xfrm>
              <a:custGeom>
                <a:avLst/>
                <a:gdLst>
                  <a:gd name="connsiteX0" fmla="*/ 0 w 44019"/>
                  <a:gd name="connsiteY0" fmla="*/ 0 h 7655"/>
                  <a:gd name="connsiteX1" fmla="*/ 44019 w 44019"/>
                  <a:gd name="connsiteY1" fmla="*/ 0 h 7655"/>
                </a:gdLst>
                <a:ahLst/>
                <a:cxnLst>
                  <a:cxn ang="0">
                    <a:pos x="connsiteX0" y="connsiteY0"/>
                  </a:cxn>
                  <a:cxn ang="0">
                    <a:pos x="connsiteX1" y="connsiteY1"/>
                  </a:cxn>
                </a:cxnLst>
                <a:rect l="l" t="t" r="r" b="b"/>
                <a:pathLst>
                  <a:path w="44019" h="7655">
                    <a:moveTo>
                      <a:pt x="0" y="0"/>
                    </a:moveTo>
                    <a:lnTo>
                      <a:pt x="44019" y="0"/>
                    </a:lnTo>
                  </a:path>
                </a:pathLst>
              </a:custGeom>
              <a:ln w="12700" cap="rnd">
                <a:solidFill>
                  <a:schemeClr val="bg1"/>
                </a:solidFill>
                <a:prstDash val="solid"/>
                <a:round/>
              </a:ln>
            </p:spPr>
            <p:txBody>
              <a:bodyPr rtlCol="0" anchor="ctr"/>
              <a:lstStyle/>
              <a:p>
                <a:endParaRPr lang="pt-BR"/>
              </a:p>
            </p:txBody>
          </p:sp>
        </p:grpSp>
        <p:cxnSp>
          <p:nvCxnSpPr>
            <p:cNvPr id="764" name="Conector reto 763">
              <a:extLst>
                <a:ext uri="{FF2B5EF4-FFF2-40B4-BE49-F238E27FC236}">
                  <a16:creationId xmlns:a16="http://schemas.microsoft.com/office/drawing/2014/main" id="{63D7B635-6B8A-BBD6-67CE-0F97705FA4BA}"/>
                </a:ext>
              </a:extLst>
            </p:cNvPr>
            <p:cNvCxnSpPr>
              <a:cxnSpLocks/>
            </p:cNvCxnSpPr>
            <p:nvPr/>
          </p:nvCxnSpPr>
          <p:spPr>
            <a:xfrm>
              <a:off x="1278862" y="4436688"/>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grpSp>
        <p:nvGrpSpPr>
          <p:cNvPr id="781" name="Agrupar 780">
            <a:extLst>
              <a:ext uri="{FF2B5EF4-FFF2-40B4-BE49-F238E27FC236}">
                <a16:creationId xmlns:a16="http://schemas.microsoft.com/office/drawing/2014/main" id="{7AB54E35-7742-0930-4636-35EA7B3922C4}"/>
              </a:ext>
            </a:extLst>
          </p:cNvPr>
          <p:cNvGrpSpPr/>
          <p:nvPr/>
        </p:nvGrpSpPr>
        <p:grpSpPr>
          <a:xfrm>
            <a:off x="12684231" y="5714271"/>
            <a:ext cx="235637" cy="267707"/>
            <a:chOff x="1275030" y="5205172"/>
            <a:chExt cx="402431" cy="457200"/>
          </a:xfrm>
        </p:grpSpPr>
        <p:pic>
          <p:nvPicPr>
            <p:cNvPr id="782" name="Gráfico 781">
              <a:extLst>
                <a:ext uri="{FF2B5EF4-FFF2-40B4-BE49-F238E27FC236}">
                  <a16:creationId xmlns:a16="http://schemas.microsoft.com/office/drawing/2014/main" id="{FA72B491-AF58-4146-C664-C8A0ADB3A7B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277411" y="5205172"/>
              <a:ext cx="400050" cy="457200"/>
            </a:xfrm>
            <a:prstGeom prst="rect">
              <a:avLst/>
            </a:prstGeom>
          </p:spPr>
        </p:pic>
        <p:cxnSp>
          <p:nvCxnSpPr>
            <p:cNvPr id="783" name="Conector reto 782">
              <a:extLst>
                <a:ext uri="{FF2B5EF4-FFF2-40B4-BE49-F238E27FC236}">
                  <a16:creationId xmlns:a16="http://schemas.microsoft.com/office/drawing/2014/main" id="{EC387E03-95B7-81A9-FB34-1EF71E75E201}"/>
                </a:ext>
              </a:extLst>
            </p:cNvPr>
            <p:cNvCxnSpPr>
              <a:cxnSpLocks/>
            </p:cNvCxnSpPr>
            <p:nvPr/>
          </p:nvCxnSpPr>
          <p:spPr>
            <a:xfrm>
              <a:off x="1275030" y="5657369"/>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grpSp>
        <p:nvGrpSpPr>
          <p:cNvPr id="789" name="Agrupar 788">
            <a:extLst>
              <a:ext uri="{FF2B5EF4-FFF2-40B4-BE49-F238E27FC236}">
                <a16:creationId xmlns:a16="http://schemas.microsoft.com/office/drawing/2014/main" id="{248E3CE9-72E0-B8A7-5580-00EE11F5A133}"/>
              </a:ext>
            </a:extLst>
          </p:cNvPr>
          <p:cNvGrpSpPr/>
          <p:nvPr/>
        </p:nvGrpSpPr>
        <p:grpSpPr>
          <a:xfrm>
            <a:off x="12973394" y="6010942"/>
            <a:ext cx="235637" cy="267707"/>
            <a:chOff x="1275030" y="5205172"/>
            <a:chExt cx="402431" cy="457200"/>
          </a:xfrm>
        </p:grpSpPr>
        <p:pic>
          <p:nvPicPr>
            <p:cNvPr id="790" name="Gráfico 789">
              <a:extLst>
                <a:ext uri="{FF2B5EF4-FFF2-40B4-BE49-F238E27FC236}">
                  <a16:creationId xmlns:a16="http://schemas.microsoft.com/office/drawing/2014/main" id="{37D85185-773B-77DC-A73D-0967A3DBFCD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277411" y="5205172"/>
              <a:ext cx="400050" cy="457200"/>
            </a:xfrm>
            <a:prstGeom prst="rect">
              <a:avLst/>
            </a:prstGeom>
          </p:spPr>
        </p:pic>
        <p:cxnSp>
          <p:nvCxnSpPr>
            <p:cNvPr id="791" name="Conector reto 790">
              <a:extLst>
                <a:ext uri="{FF2B5EF4-FFF2-40B4-BE49-F238E27FC236}">
                  <a16:creationId xmlns:a16="http://schemas.microsoft.com/office/drawing/2014/main" id="{1E689369-78EB-D668-C864-DD069368344D}"/>
                </a:ext>
              </a:extLst>
            </p:cNvPr>
            <p:cNvCxnSpPr>
              <a:cxnSpLocks/>
            </p:cNvCxnSpPr>
            <p:nvPr/>
          </p:nvCxnSpPr>
          <p:spPr>
            <a:xfrm>
              <a:off x="1275030" y="5657369"/>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grpSp>
        <p:nvGrpSpPr>
          <p:cNvPr id="794" name="Agrupar 793">
            <a:extLst>
              <a:ext uri="{FF2B5EF4-FFF2-40B4-BE49-F238E27FC236}">
                <a16:creationId xmlns:a16="http://schemas.microsoft.com/office/drawing/2014/main" id="{2960DF60-4D7B-DE59-8FE3-8C4D35BC3904}"/>
              </a:ext>
            </a:extLst>
          </p:cNvPr>
          <p:cNvGrpSpPr/>
          <p:nvPr/>
        </p:nvGrpSpPr>
        <p:grpSpPr>
          <a:xfrm>
            <a:off x="12467850" y="6167565"/>
            <a:ext cx="260388" cy="277336"/>
            <a:chOff x="1275030" y="6279557"/>
            <a:chExt cx="402431" cy="428625"/>
          </a:xfrm>
        </p:grpSpPr>
        <p:pic>
          <p:nvPicPr>
            <p:cNvPr id="795" name="Gráfico 794">
              <a:extLst>
                <a:ext uri="{FF2B5EF4-FFF2-40B4-BE49-F238E27FC236}">
                  <a16:creationId xmlns:a16="http://schemas.microsoft.com/office/drawing/2014/main" id="{2E1AFE8B-76B4-5171-3574-8D6F05DEC39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7411" y="6279557"/>
              <a:ext cx="400050" cy="428625"/>
            </a:xfrm>
            <a:prstGeom prst="rect">
              <a:avLst/>
            </a:prstGeom>
          </p:spPr>
        </p:pic>
        <p:cxnSp>
          <p:nvCxnSpPr>
            <p:cNvPr id="796" name="Conector reto 795">
              <a:extLst>
                <a:ext uri="{FF2B5EF4-FFF2-40B4-BE49-F238E27FC236}">
                  <a16:creationId xmlns:a16="http://schemas.microsoft.com/office/drawing/2014/main" id="{A0535A16-5603-C7A6-6CB3-455BD4C0E9B6}"/>
                </a:ext>
              </a:extLst>
            </p:cNvPr>
            <p:cNvCxnSpPr>
              <a:cxnSpLocks/>
            </p:cNvCxnSpPr>
            <p:nvPr/>
          </p:nvCxnSpPr>
          <p:spPr>
            <a:xfrm>
              <a:off x="1275030" y="6708182"/>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grpSp>
        <p:nvGrpSpPr>
          <p:cNvPr id="851" name="Agrupar 850">
            <a:extLst>
              <a:ext uri="{FF2B5EF4-FFF2-40B4-BE49-F238E27FC236}">
                <a16:creationId xmlns:a16="http://schemas.microsoft.com/office/drawing/2014/main" id="{9E327C87-DD2E-59CB-7893-1AD2C8F827FB}"/>
              </a:ext>
            </a:extLst>
          </p:cNvPr>
          <p:cNvGrpSpPr/>
          <p:nvPr/>
        </p:nvGrpSpPr>
        <p:grpSpPr>
          <a:xfrm>
            <a:off x="12724394" y="5945126"/>
            <a:ext cx="260388" cy="271173"/>
            <a:chOff x="10240755" y="6471633"/>
            <a:chExt cx="260388" cy="271173"/>
          </a:xfrm>
        </p:grpSpPr>
        <p:sp>
          <p:nvSpPr>
            <p:cNvPr id="831" name="Forma Livre: Forma 830">
              <a:extLst>
                <a:ext uri="{FF2B5EF4-FFF2-40B4-BE49-F238E27FC236}">
                  <a16:creationId xmlns:a16="http://schemas.microsoft.com/office/drawing/2014/main" id="{D00BAB26-C0BC-730B-0FD2-727483B83275}"/>
                </a:ext>
              </a:extLst>
            </p:cNvPr>
            <p:cNvSpPr/>
            <p:nvPr/>
          </p:nvSpPr>
          <p:spPr>
            <a:xfrm>
              <a:off x="10322415" y="6471633"/>
              <a:ext cx="98608" cy="36978"/>
            </a:xfrm>
            <a:custGeom>
              <a:avLst/>
              <a:gdLst>
                <a:gd name="connsiteX0" fmla="*/ 0 w 98608"/>
                <a:gd name="connsiteY0" fmla="*/ 36978 h 36978"/>
                <a:gd name="connsiteX1" fmla="*/ 0 w 98608"/>
                <a:gd name="connsiteY1" fmla="*/ 0 h 36978"/>
                <a:gd name="connsiteX2" fmla="*/ 98608 w 98608"/>
                <a:gd name="connsiteY2" fmla="*/ 0 h 36978"/>
                <a:gd name="connsiteX3" fmla="*/ 98608 w 98608"/>
                <a:gd name="connsiteY3" fmla="*/ 36978 h 36978"/>
              </a:gdLst>
              <a:ahLst/>
              <a:cxnLst>
                <a:cxn ang="0">
                  <a:pos x="connsiteX0" y="connsiteY0"/>
                </a:cxn>
                <a:cxn ang="0">
                  <a:pos x="connsiteX1" y="connsiteY1"/>
                </a:cxn>
                <a:cxn ang="0">
                  <a:pos x="connsiteX2" y="connsiteY2"/>
                </a:cxn>
                <a:cxn ang="0">
                  <a:pos x="connsiteX3" y="connsiteY3"/>
                </a:cxn>
              </a:cxnLst>
              <a:rect l="l" t="t" r="r" b="b"/>
              <a:pathLst>
                <a:path w="98608" h="36978">
                  <a:moveTo>
                    <a:pt x="0" y="36978"/>
                  </a:moveTo>
                  <a:lnTo>
                    <a:pt x="0" y="0"/>
                  </a:lnTo>
                  <a:lnTo>
                    <a:pt x="98608" y="0"/>
                  </a:lnTo>
                  <a:lnTo>
                    <a:pt x="98608" y="36978"/>
                  </a:lnTo>
                </a:path>
              </a:pathLst>
            </a:custGeom>
            <a:solidFill>
              <a:srgbClr val="FF5000"/>
            </a:solidFill>
            <a:ln w="12701" cap="flat">
              <a:solidFill>
                <a:schemeClr val="bg1"/>
              </a:solidFill>
              <a:prstDash val="solid"/>
              <a:round/>
            </a:ln>
          </p:spPr>
          <p:txBody>
            <a:bodyPr rtlCol="0" anchor="ctr"/>
            <a:lstStyle/>
            <a:p>
              <a:endParaRPr lang="pt-BR"/>
            </a:p>
          </p:txBody>
        </p:sp>
        <p:sp>
          <p:nvSpPr>
            <p:cNvPr id="832" name="Forma Livre: Forma 831">
              <a:extLst>
                <a:ext uri="{FF2B5EF4-FFF2-40B4-BE49-F238E27FC236}">
                  <a16:creationId xmlns:a16="http://schemas.microsoft.com/office/drawing/2014/main" id="{3E1896FC-FFC5-BD39-2E86-4889DF34A908}"/>
                </a:ext>
              </a:extLst>
            </p:cNvPr>
            <p:cNvSpPr/>
            <p:nvPr/>
          </p:nvSpPr>
          <p:spPr>
            <a:xfrm>
              <a:off x="10353230" y="6711990"/>
              <a:ext cx="36978" cy="30815"/>
            </a:xfrm>
            <a:custGeom>
              <a:avLst/>
              <a:gdLst>
                <a:gd name="connsiteX0" fmla="*/ 0 w 36978"/>
                <a:gd name="connsiteY0" fmla="*/ 30815 h 30815"/>
                <a:gd name="connsiteX1" fmla="*/ 0 w 36978"/>
                <a:gd name="connsiteY1" fmla="*/ 0 h 30815"/>
                <a:gd name="connsiteX2" fmla="*/ 36978 w 36978"/>
                <a:gd name="connsiteY2" fmla="*/ 0 h 30815"/>
                <a:gd name="connsiteX3" fmla="*/ 36978 w 36978"/>
                <a:gd name="connsiteY3" fmla="*/ 30815 h 30815"/>
              </a:gdLst>
              <a:ahLst/>
              <a:cxnLst>
                <a:cxn ang="0">
                  <a:pos x="connsiteX0" y="connsiteY0"/>
                </a:cxn>
                <a:cxn ang="0">
                  <a:pos x="connsiteX1" y="connsiteY1"/>
                </a:cxn>
                <a:cxn ang="0">
                  <a:pos x="connsiteX2" y="connsiteY2"/>
                </a:cxn>
                <a:cxn ang="0">
                  <a:pos x="connsiteX3" y="connsiteY3"/>
                </a:cxn>
              </a:cxnLst>
              <a:rect l="l" t="t" r="r" b="b"/>
              <a:pathLst>
                <a:path w="36978" h="30815">
                  <a:moveTo>
                    <a:pt x="0" y="30815"/>
                  </a:moveTo>
                  <a:lnTo>
                    <a:pt x="0" y="0"/>
                  </a:lnTo>
                  <a:lnTo>
                    <a:pt x="36978" y="0"/>
                  </a:lnTo>
                  <a:lnTo>
                    <a:pt x="36978" y="30815"/>
                  </a:lnTo>
                </a:path>
              </a:pathLst>
            </a:custGeom>
            <a:solidFill>
              <a:srgbClr val="FF5000"/>
            </a:solidFill>
            <a:ln w="12701" cap="flat">
              <a:solidFill>
                <a:schemeClr val="bg1"/>
              </a:solidFill>
              <a:prstDash val="solid"/>
              <a:round/>
            </a:ln>
          </p:spPr>
          <p:txBody>
            <a:bodyPr rtlCol="0" anchor="ctr"/>
            <a:lstStyle/>
            <a:p>
              <a:endParaRPr lang="pt-BR"/>
            </a:p>
          </p:txBody>
        </p:sp>
        <p:sp>
          <p:nvSpPr>
            <p:cNvPr id="833" name="Forma Livre: Forma 832">
              <a:extLst>
                <a:ext uri="{FF2B5EF4-FFF2-40B4-BE49-F238E27FC236}">
                  <a16:creationId xmlns:a16="http://schemas.microsoft.com/office/drawing/2014/main" id="{E0D76756-B81F-60DF-329A-160AA1DBFEAA}"/>
                </a:ext>
              </a:extLst>
            </p:cNvPr>
            <p:cNvSpPr/>
            <p:nvPr/>
          </p:nvSpPr>
          <p:spPr>
            <a:xfrm>
              <a:off x="10334741" y="6607219"/>
              <a:ext cx="24652" cy="18489"/>
            </a:xfrm>
            <a:custGeom>
              <a:avLst/>
              <a:gdLst>
                <a:gd name="connsiteX0" fmla="*/ 0 w 24652"/>
                <a:gd name="connsiteY0" fmla="*/ 18489 h 18489"/>
                <a:gd name="connsiteX1" fmla="*/ 0 w 24652"/>
                <a:gd name="connsiteY1" fmla="*/ 0 h 18489"/>
                <a:gd name="connsiteX2" fmla="*/ 24652 w 24652"/>
                <a:gd name="connsiteY2" fmla="*/ 0 h 18489"/>
                <a:gd name="connsiteX3" fmla="*/ 24652 w 24652"/>
                <a:gd name="connsiteY3" fmla="*/ 18489 h 18489"/>
              </a:gdLst>
              <a:ahLst/>
              <a:cxnLst>
                <a:cxn ang="0">
                  <a:pos x="connsiteX0" y="connsiteY0"/>
                </a:cxn>
                <a:cxn ang="0">
                  <a:pos x="connsiteX1" y="connsiteY1"/>
                </a:cxn>
                <a:cxn ang="0">
                  <a:pos x="connsiteX2" y="connsiteY2"/>
                </a:cxn>
                <a:cxn ang="0">
                  <a:pos x="connsiteX3" y="connsiteY3"/>
                </a:cxn>
              </a:cxnLst>
              <a:rect l="l" t="t" r="r" b="b"/>
              <a:pathLst>
                <a:path w="24652" h="18489">
                  <a:moveTo>
                    <a:pt x="0" y="18489"/>
                  </a:moveTo>
                  <a:lnTo>
                    <a:pt x="0" y="0"/>
                  </a:lnTo>
                  <a:lnTo>
                    <a:pt x="24652" y="0"/>
                  </a:lnTo>
                  <a:lnTo>
                    <a:pt x="24652" y="18489"/>
                  </a:lnTo>
                </a:path>
              </a:pathLst>
            </a:custGeom>
            <a:solidFill>
              <a:srgbClr val="FF5000"/>
            </a:solidFill>
            <a:ln w="12701" cap="flat">
              <a:solidFill>
                <a:schemeClr val="bg1"/>
              </a:solidFill>
              <a:prstDash val="solid"/>
              <a:round/>
            </a:ln>
          </p:spPr>
          <p:txBody>
            <a:bodyPr rtlCol="0" anchor="ctr"/>
            <a:lstStyle/>
            <a:p>
              <a:endParaRPr lang="pt-BR"/>
            </a:p>
          </p:txBody>
        </p:sp>
        <p:sp>
          <p:nvSpPr>
            <p:cNvPr id="834" name="Forma Livre: Forma 833">
              <a:extLst>
                <a:ext uri="{FF2B5EF4-FFF2-40B4-BE49-F238E27FC236}">
                  <a16:creationId xmlns:a16="http://schemas.microsoft.com/office/drawing/2014/main" id="{E6F7E380-4E3C-F68A-D9F1-71B641A799F3}"/>
                </a:ext>
              </a:extLst>
            </p:cNvPr>
            <p:cNvSpPr/>
            <p:nvPr/>
          </p:nvSpPr>
          <p:spPr>
            <a:xfrm>
              <a:off x="10334741" y="6656523"/>
              <a:ext cx="24652" cy="18489"/>
            </a:xfrm>
            <a:custGeom>
              <a:avLst/>
              <a:gdLst>
                <a:gd name="connsiteX0" fmla="*/ 0 w 24652"/>
                <a:gd name="connsiteY0" fmla="*/ 18489 h 18489"/>
                <a:gd name="connsiteX1" fmla="*/ 0 w 24652"/>
                <a:gd name="connsiteY1" fmla="*/ 0 h 18489"/>
                <a:gd name="connsiteX2" fmla="*/ 24652 w 24652"/>
                <a:gd name="connsiteY2" fmla="*/ 0 h 18489"/>
                <a:gd name="connsiteX3" fmla="*/ 24652 w 24652"/>
                <a:gd name="connsiteY3" fmla="*/ 18489 h 18489"/>
              </a:gdLst>
              <a:ahLst/>
              <a:cxnLst>
                <a:cxn ang="0">
                  <a:pos x="connsiteX0" y="connsiteY0"/>
                </a:cxn>
                <a:cxn ang="0">
                  <a:pos x="connsiteX1" y="connsiteY1"/>
                </a:cxn>
                <a:cxn ang="0">
                  <a:pos x="connsiteX2" y="connsiteY2"/>
                </a:cxn>
                <a:cxn ang="0">
                  <a:pos x="connsiteX3" y="connsiteY3"/>
                </a:cxn>
              </a:cxnLst>
              <a:rect l="l" t="t" r="r" b="b"/>
              <a:pathLst>
                <a:path w="24652" h="18489">
                  <a:moveTo>
                    <a:pt x="0" y="18489"/>
                  </a:moveTo>
                  <a:lnTo>
                    <a:pt x="0" y="0"/>
                  </a:lnTo>
                  <a:lnTo>
                    <a:pt x="24652" y="0"/>
                  </a:lnTo>
                  <a:lnTo>
                    <a:pt x="24652" y="18489"/>
                  </a:lnTo>
                </a:path>
              </a:pathLst>
            </a:custGeom>
            <a:solidFill>
              <a:srgbClr val="FF5000"/>
            </a:solidFill>
            <a:ln w="12701" cap="flat">
              <a:solidFill>
                <a:schemeClr val="bg1"/>
              </a:solidFill>
              <a:prstDash val="solid"/>
              <a:round/>
            </a:ln>
          </p:spPr>
          <p:txBody>
            <a:bodyPr rtlCol="0" anchor="ctr"/>
            <a:lstStyle/>
            <a:p>
              <a:endParaRPr lang="pt-BR"/>
            </a:p>
          </p:txBody>
        </p:sp>
        <p:sp>
          <p:nvSpPr>
            <p:cNvPr id="835" name="Forma Livre: Forma 834">
              <a:extLst>
                <a:ext uri="{FF2B5EF4-FFF2-40B4-BE49-F238E27FC236}">
                  <a16:creationId xmlns:a16="http://schemas.microsoft.com/office/drawing/2014/main" id="{AD75F017-A1B5-D250-4C5A-8892C185009C}"/>
                </a:ext>
              </a:extLst>
            </p:cNvPr>
            <p:cNvSpPr/>
            <p:nvPr/>
          </p:nvSpPr>
          <p:spPr>
            <a:xfrm>
              <a:off x="10384045" y="6607219"/>
              <a:ext cx="24652" cy="18489"/>
            </a:xfrm>
            <a:custGeom>
              <a:avLst/>
              <a:gdLst>
                <a:gd name="connsiteX0" fmla="*/ 0 w 24652"/>
                <a:gd name="connsiteY0" fmla="*/ 18489 h 18489"/>
                <a:gd name="connsiteX1" fmla="*/ 0 w 24652"/>
                <a:gd name="connsiteY1" fmla="*/ 0 h 18489"/>
                <a:gd name="connsiteX2" fmla="*/ 24652 w 24652"/>
                <a:gd name="connsiteY2" fmla="*/ 0 h 18489"/>
                <a:gd name="connsiteX3" fmla="*/ 24652 w 24652"/>
                <a:gd name="connsiteY3" fmla="*/ 18489 h 18489"/>
              </a:gdLst>
              <a:ahLst/>
              <a:cxnLst>
                <a:cxn ang="0">
                  <a:pos x="connsiteX0" y="connsiteY0"/>
                </a:cxn>
                <a:cxn ang="0">
                  <a:pos x="connsiteX1" y="connsiteY1"/>
                </a:cxn>
                <a:cxn ang="0">
                  <a:pos x="connsiteX2" y="connsiteY2"/>
                </a:cxn>
                <a:cxn ang="0">
                  <a:pos x="connsiteX3" y="connsiteY3"/>
                </a:cxn>
              </a:cxnLst>
              <a:rect l="l" t="t" r="r" b="b"/>
              <a:pathLst>
                <a:path w="24652" h="18489">
                  <a:moveTo>
                    <a:pt x="0" y="18489"/>
                  </a:moveTo>
                  <a:lnTo>
                    <a:pt x="0" y="0"/>
                  </a:lnTo>
                  <a:lnTo>
                    <a:pt x="24652" y="0"/>
                  </a:lnTo>
                  <a:lnTo>
                    <a:pt x="24652" y="18489"/>
                  </a:lnTo>
                </a:path>
              </a:pathLst>
            </a:custGeom>
            <a:solidFill>
              <a:srgbClr val="FF5000"/>
            </a:solidFill>
            <a:ln w="12701" cap="flat">
              <a:solidFill>
                <a:schemeClr val="bg1"/>
              </a:solidFill>
              <a:prstDash val="solid"/>
              <a:round/>
            </a:ln>
          </p:spPr>
          <p:txBody>
            <a:bodyPr rtlCol="0" anchor="ctr"/>
            <a:lstStyle/>
            <a:p>
              <a:endParaRPr lang="pt-BR"/>
            </a:p>
          </p:txBody>
        </p:sp>
        <p:sp>
          <p:nvSpPr>
            <p:cNvPr id="836" name="Forma Livre: Forma 835">
              <a:extLst>
                <a:ext uri="{FF2B5EF4-FFF2-40B4-BE49-F238E27FC236}">
                  <a16:creationId xmlns:a16="http://schemas.microsoft.com/office/drawing/2014/main" id="{C19595DF-4694-5898-4924-A2223807336F}"/>
                </a:ext>
              </a:extLst>
            </p:cNvPr>
            <p:cNvSpPr/>
            <p:nvPr/>
          </p:nvSpPr>
          <p:spPr>
            <a:xfrm>
              <a:off x="10334741" y="6557915"/>
              <a:ext cx="24652" cy="18489"/>
            </a:xfrm>
            <a:custGeom>
              <a:avLst/>
              <a:gdLst>
                <a:gd name="connsiteX0" fmla="*/ 0 w 24652"/>
                <a:gd name="connsiteY0" fmla="*/ 18489 h 18489"/>
                <a:gd name="connsiteX1" fmla="*/ 0 w 24652"/>
                <a:gd name="connsiteY1" fmla="*/ 0 h 18489"/>
                <a:gd name="connsiteX2" fmla="*/ 24652 w 24652"/>
                <a:gd name="connsiteY2" fmla="*/ 0 h 18489"/>
                <a:gd name="connsiteX3" fmla="*/ 24652 w 24652"/>
                <a:gd name="connsiteY3" fmla="*/ 18489 h 18489"/>
              </a:gdLst>
              <a:ahLst/>
              <a:cxnLst>
                <a:cxn ang="0">
                  <a:pos x="connsiteX0" y="connsiteY0"/>
                </a:cxn>
                <a:cxn ang="0">
                  <a:pos x="connsiteX1" y="connsiteY1"/>
                </a:cxn>
                <a:cxn ang="0">
                  <a:pos x="connsiteX2" y="connsiteY2"/>
                </a:cxn>
                <a:cxn ang="0">
                  <a:pos x="connsiteX3" y="connsiteY3"/>
                </a:cxn>
              </a:cxnLst>
              <a:rect l="l" t="t" r="r" b="b"/>
              <a:pathLst>
                <a:path w="24652" h="18489">
                  <a:moveTo>
                    <a:pt x="0" y="18489"/>
                  </a:moveTo>
                  <a:lnTo>
                    <a:pt x="0" y="0"/>
                  </a:lnTo>
                  <a:lnTo>
                    <a:pt x="24652" y="0"/>
                  </a:lnTo>
                  <a:lnTo>
                    <a:pt x="24652" y="18489"/>
                  </a:lnTo>
                </a:path>
              </a:pathLst>
            </a:custGeom>
            <a:solidFill>
              <a:srgbClr val="FF5000"/>
            </a:solidFill>
            <a:ln w="12701" cap="flat">
              <a:solidFill>
                <a:schemeClr val="bg1"/>
              </a:solidFill>
              <a:prstDash val="solid"/>
              <a:round/>
            </a:ln>
          </p:spPr>
          <p:txBody>
            <a:bodyPr rtlCol="0" anchor="ctr"/>
            <a:lstStyle/>
            <a:p>
              <a:endParaRPr lang="pt-BR"/>
            </a:p>
          </p:txBody>
        </p:sp>
        <p:sp>
          <p:nvSpPr>
            <p:cNvPr id="837" name="Forma Livre: Forma 836">
              <a:extLst>
                <a:ext uri="{FF2B5EF4-FFF2-40B4-BE49-F238E27FC236}">
                  <a16:creationId xmlns:a16="http://schemas.microsoft.com/office/drawing/2014/main" id="{F00D1A51-A65E-7097-BDB2-740208B102ED}"/>
                </a:ext>
              </a:extLst>
            </p:cNvPr>
            <p:cNvSpPr/>
            <p:nvPr/>
          </p:nvSpPr>
          <p:spPr>
            <a:xfrm>
              <a:off x="10384045" y="6557915"/>
              <a:ext cx="24652" cy="18489"/>
            </a:xfrm>
            <a:custGeom>
              <a:avLst/>
              <a:gdLst>
                <a:gd name="connsiteX0" fmla="*/ 0 w 24652"/>
                <a:gd name="connsiteY0" fmla="*/ 18489 h 18489"/>
                <a:gd name="connsiteX1" fmla="*/ 0 w 24652"/>
                <a:gd name="connsiteY1" fmla="*/ 0 h 18489"/>
                <a:gd name="connsiteX2" fmla="*/ 24652 w 24652"/>
                <a:gd name="connsiteY2" fmla="*/ 0 h 18489"/>
                <a:gd name="connsiteX3" fmla="*/ 24652 w 24652"/>
                <a:gd name="connsiteY3" fmla="*/ 18489 h 18489"/>
              </a:gdLst>
              <a:ahLst/>
              <a:cxnLst>
                <a:cxn ang="0">
                  <a:pos x="connsiteX0" y="connsiteY0"/>
                </a:cxn>
                <a:cxn ang="0">
                  <a:pos x="connsiteX1" y="connsiteY1"/>
                </a:cxn>
                <a:cxn ang="0">
                  <a:pos x="connsiteX2" y="connsiteY2"/>
                </a:cxn>
                <a:cxn ang="0">
                  <a:pos x="connsiteX3" y="connsiteY3"/>
                </a:cxn>
              </a:cxnLst>
              <a:rect l="l" t="t" r="r" b="b"/>
              <a:pathLst>
                <a:path w="24652" h="18489">
                  <a:moveTo>
                    <a:pt x="0" y="18489"/>
                  </a:moveTo>
                  <a:lnTo>
                    <a:pt x="0" y="0"/>
                  </a:lnTo>
                  <a:lnTo>
                    <a:pt x="24652" y="0"/>
                  </a:lnTo>
                  <a:lnTo>
                    <a:pt x="24652" y="18489"/>
                  </a:lnTo>
                </a:path>
              </a:pathLst>
            </a:custGeom>
            <a:solidFill>
              <a:srgbClr val="FF5000"/>
            </a:solidFill>
            <a:ln w="12701" cap="flat">
              <a:solidFill>
                <a:schemeClr val="bg1"/>
              </a:solidFill>
              <a:prstDash val="solid"/>
              <a:round/>
            </a:ln>
          </p:spPr>
          <p:txBody>
            <a:bodyPr rtlCol="0" anchor="ctr"/>
            <a:lstStyle/>
            <a:p>
              <a:endParaRPr lang="pt-BR"/>
            </a:p>
          </p:txBody>
        </p:sp>
        <p:sp>
          <p:nvSpPr>
            <p:cNvPr id="838" name="Forma Livre: Forma 837">
              <a:extLst>
                <a:ext uri="{FF2B5EF4-FFF2-40B4-BE49-F238E27FC236}">
                  <a16:creationId xmlns:a16="http://schemas.microsoft.com/office/drawing/2014/main" id="{DA62B80E-2116-C5EC-316C-B9EA3DF3120F}"/>
                </a:ext>
              </a:extLst>
            </p:cNvPr>
            <p:cNvSpPr/>
            <p:nvPr/>
          </p:nvSpPr>
          <p:spPr>
            <a:xfrm>
              <a:off x="10384045" y="6656523"/>
              <a:ext cx="24652" cy="18489"/>
            </a:xfrm>
            <a:custGeom>
              <a:avLst/>
              <a:gdLst>
                <a:gd name="connsiteX0" fmla="*/ 0 w 24652"/>
                <a:gd name="connsiteY0" fmla="*/ 18489 h 18489"/>
                <a:gd name="connsiteX1" fmla="*/ 0 w 24652"/>
                <a:gd name="connsiteY1" fmla="*/ 0 h 18489"/>
                <a:gd name="connsiteX2" fmla="*/ 24652 w 24652"/>
                <a:gd name="connsiteY2" fmla="*/ 0 h 18489"/>
                <a:gd name="connsiteX3" fmla="*/ 24652 w 24652"/>
                <a:gd name="connsiteY3" fmla="*/ 18489 h 18489"/>
              </a:gdLst>
              <a:ahLst/>
              <a:cxnLst>
                <a:cxn ang="0">
                  <a:pos x="connsiteX0" y="connsiteY0"/>
                </a:cxn>
                <a:cxn ang="0">
                  <a:pos x="connsiteX1" y="connsiteY1"/>
                </a:cxn>
                <a:cxn ang="0">
                  <a:pos x="connsiteX2" y="connsiteY2"/>
                </a:cxn>
                <a:cxn ang="0">
                  <a:pos x="connsiteX3" y="connsiteY3"/>
                </a:cxn>
              </a:cxnLst>
              <a:rect l="l" t="t" r="r" b="b"/>
              <a:pathLst>
                <a:path w="24652" h="18489">
                  <a:moveTo>
                    <a:pt x="0" y="18489"/>
                  </a:moveTo>
                  <a:lnTo>
                    <a:pt x="0" y="0"/>
                  </a:lnTo>
                  <a:lnTo>
                    <a:pt x="24652" y="0"/>
                  </a:lnTo>
                  <a:lnTo>
                    <a:pt x="24652" y="18489"/>
                  </a:lnTo>
                </a:path>
              </a:pathLst>
            </a:custGeom>
            <a:solidFill>
              <a:srgbClr val="FF5000"/>
            </a:solidFill>
            <a:ln w="12701" cap="flat">
              <a:solidFill>
                <a:schemeClr val="bg1"/>
              </a:solidFill>
              <a:prstDash val="solid"/>
              <a:round/>
            </a:ln>
          </p:spPr>
          <p:txBody>
            <a:bodyPr rtlCol="0" anchor="ctr"/>
            <a:lstStyle/>
            <a:p>
              <a:endParaRPr lang="pt-BR"/>
            </a:p>
          </p:txBody>
        </p:sp>
        <p:sp>
          <p:nvSpPr>
            <p:cNvPr id="839" name="Forma Livre: Forma 838">
              <a:extLst>
                <a:ext uri="{FF2B5EF4-FFF2-40B4-BE49-F238E27FC236}">
                  <a16:creationId xmlns:a16="http://schemas.microsoft.com/office/drawing/2014/main" id="{CD5F6656-6D78-35AA-181A-21CBBC997123}"/>
                </a:ext>
              </a:extLst>
            </p:cNvPr>
            <p:cNvSpPr/>
            <p:nvPr/>
          </p:nvSpPr>
          <p:spPr>
            <a:xfrm>
              <a:off x="10458001" y="6644197"/>
              <a:ext cx="18489" cy="6163"/>
            </a:xfrm>
            <a:custGeom>
              <a:avLst/>
              <a:gdLst>
                <a:gd name="connsiteX0" fmla="*/ 0 w 18489"/>
                <a:gd name="connsiteY0" fmla="*/ 0 h 6163"/>
                <a:gd name="connsiteX1" fmla="*/ 18489 w 18489"/>
                <a:gd name="connsiteY1" fmla="*/ 0 h 6163"/>
              </a:gdLst>
              <a:ahLst/>
              <a:cxnLst>
                <a:cxn ang="0">
                  <a:pos x="connsiteX0" y="connsiteY0"/>
                </a:cxn>
                <a:cxn ang="0">
                  <a:pos x="connsiteX1" y="connsiteY1"/>
                </a:cxn>
              </a:cxnLst>
              <a:rect l="l" t="t" r="r" b="b"/>
              <a:pathLst>
                <a:path w="18489" h="6163">
                  <a:moveTo>
                    <a:pt x="0" y="0"/>
                  </a:moveTo>
                  <a:lnTo>
                    <a:pt x="18489" y="0"/>
                  </a:lnTo>
                </a:path>
              </a:pathLst>
            </a:custGeom>
            <a:ln w="12701" cap="flat">
              <a:solidFill>
                <a:schemeClr val="bg1"/>
              </a:solidFill>
              <a:prstDash val="solid"/>
              <a:round/>
            </a:ln>
          </p:spPr>
          <p:txBody>
            <a:bodyPr rtlCol="0" anchor="ctr"/>
            <a:lstStyle/>
            <a:p>
              <a:endParaRPr lang="pt-BR"/>
            </a:p>
          </p:txBody>
        </p:sp>
        <p:sp>
          <p:nvSpPr>
            <p:cNvPr id="840" name="Forma Livre: Forma 839">
              <a:extLst>
                <a:ext uri="{FF2B5EF4-FFF2-40B4-BE49-F238E27FC236}">
                  <a16:creationId xmlns:a16="http://schemas.microsoft.com/office/drawing/2014/main" id="{3B505332-626B-FAB1-92FD-DBCEC33B3ABD}"/>
                </a:ext>
              </a:extLst>
            </p:cNvPr>
            <p:cNvSpPr/>
            <p:nvPr/>
          </p:nvSpPr>
          <p:spPr>
            <a:xfrm>
              <a:off x="10458001" y="6668849"/>
              <a:ext cx="18489" cy="6163"/>
            </a:xfrm>
            <a:custGeom>
              <a:avLst/>
              <a:gdLst>
                <a:gd name="connsiteX0" fmla="*/ 0 w 18489"/>
                <a:gd name="connsiteY0" fmla="*/ 0 h 6163"/>
                <a:gd name="connsiteX1" fmla="*/ 18489 w 18489"/>
                <a:gd name="connsiteY1" fmla="*/ 0 h 6163"/>
              </a:gdLst>
              <a:ahLst/>
              <a:cxnLst>
                <a:cxn ang="0">
                  <a:pos x="connsiteX0" y="connsiteY0"/>
                </a:cxn>
                <a:cxn ang="0">
                  <a:pos x="connsiteX1" y="connsiteY1"/>
                </a:cxn>
              </a:cxnLst>
              <a:rect l="l" t="t" r="r" b="b"/>
              <a:pathLst>
                <a:path w="18489" h="6163">
                  <a:moveTo>
                    <a:pt x="0" y="0"/>
                  </a:moveTo>
                  <a:lnTo>
                    <a:pt x="18489" y="0"/>
                  </a:lnTo>
                </a:path>
              </a:pathLst>
            </a:custGeom>
            <a:ln w="12701" cap="flat">
              <a:solidFill>
                <a:schemeClr val="bg1"/>
              </a:solidFill>
              <a:prstDash val="solid"/>
              <a:round/>
            </a:ln>
          </p:spPr>
          <p:txBody>
            <a:bodyPr rtlCol="0" anchor="ctr"/>
            <a:lstStyle/>
            <a:p>
              <a:endParaRPr lang="pt-BR"/>
            </a:p>
          </p:txBody>
        </p:sp>
        <p:sp>
          <p:nvSpPr>
            <p:cNvPr id="841" name="Forma Livre: Forma 840">
              <a:extLst>
                <a:ext uri="{FF2B5EF4-FFF2-40B4-BE49-F238E27FC236}">
                  <a16:creationId xmlns:a16="http://schemas.microsoft.com/office/drawing/2014/main" id="{1474E058-41F2-765D-F586-1566778CCA32}"/>
                </a:ext>
              </a:extLst>
            </p:cNvPr>
            <p:cNvSpPr/>
            <p:nvPr/>
          </p:nvSpPr>
          <p:spPr>
            <a:xfrm>
              <a:off x="10458001" y="6693501"/>
              <a:ext cx="18489" cy="6163"/>
            </a:xfrm>
            <a:custGeom>
              <a:avLst/>
              <a:gdLst>
                <a:gd name="connsiteX0" fmla="*/ 0 w 18489"/>
                <a:gd name="connsiteY0" fmla="*/ 0 h 6163"/>
                <a:gd name="connsiteX1" fmla="*/ 18489 w 18489"/>
                <a:gd name="connsiteY1" fmla="*/ 0 h 6163"/>
              </a:gdLst>
              <a:ahLst/>
              <a:cxnLst>
                <a:cxn ang="0">
                  <a:pos x="connsiteX0" y="connsiteY0"/>
                </a:cxn>
                <a:cxn ang="0">
                  <a:pos x="connsiteX1" y="connsiteY1"/>
                </a:cxn>
              </a:cxnLst>
              <a:rect l="l" t="t" r="r" b="b"/>
              <a:pathLst>
                <a:path w="18489" h="6163">
                  <a:moveTo>
                    <a:pt x="0" y="0"/>
                  </a:moveTo>
                  <a:lnTo>
                    <a:pt x="18489" y="0"/>
                  </a:lnTo>
                </a:path>
              </a:pathLst>
            </a:custGeom>
            <a:ln w="12701" cap="flat">
              <a:solidFill>
                <a:schemeClr val="bg1"/>
              </a:solidFill>
              <a:prstDash val="solid"/>
              <a:round/>
            </a:ln>
          </p:spPr>
          <p:txBody>
            <a:bodyPr rtlCol="0" anchor="ctr"/>
            <a:lstStyle/>
            <a:p>
              <a:endParaRPr lang="pt-BR"/>
            </a:p>
          </p:txBody>
        </p:sp>
        <p:sp>
          <p:nvSpPr>
            <p:cNvPr id="842" name="Forma Livre: Forma 841">
              <a:extLst>
                <a:ext uri="{FF2B5EF4-FFF2-40B4-BE49-F238E27FC236}">
                  <a16:creationId xmlns:a16="http://schemas.microsoft.com/office/drawing/2014/main" id="{E3B1C469-E96C-0679-58D5-E1E02998585C}"/>
                </a:ext>
              </a:extLst>
            </p:cNvPr>
            <p:cNvSpPr/>
            <p:nvPr/>
          </p:nvSpPr>
          <p:spPr>
            <a:xfrm>
              <a:off x="10458001" y="6718153"/>
              <a:ext cx="18489" cy="6163"/>
            </a:xfrm>
            <a:custGeom>
              <a:avLst/>
              <a:gdLst>
                <a:gd name="connsiteX0" fmla="*/ 0 w 18489"/>
                <a:gd name="connsiteY0" fmla="*/ 0 h 6163"/>
                <a:gd name="connsiteX1" fmla="*/ 18489 w 18489"/>
                <a:gd name="connsiteY1" fmla="*/ 0 h 6163"/>
              </a:gdLst>
              <a:ahLst/>
              <a:cxnLst>
                <a:cxn ang="0">
                  <a:pos x="connsiteX0" y="connsiteY0"/>
                </a:cxn>
                <a:cxn ang="0">
                  <a:pos x="connsiteX1" y="connsiteY1"/>
                </a:cxn>
              </a:cxnLst>
              <a:rect l="l" t="t" r="r" b="b"/>
              <a:pathLst>
                <a:path w="18489" h="6163">
                  <a:moveTo>
                    <a:pt x="0" y="0"/>
                  </a:moveTo>
                  <a:lnTo>
                    <a:pt x="18489" y="0"/>
                  </a:lnTo>
                </a:path>
              </a:pathLst>
            </a:custGeom>
            <a:ln w="12701" cap="flat">
              <a:solidFill>
                <a:schemeClr val="bg1"/>
              </a:solidFill>
              <a:prstDash val="solid"/>
              <a:round/>
            </a:ln>
          </p:spPr>
          <p:txBody>
            <a:bodyPr rtlCol="0" anchor="ctr"/>
            <a:lstStyle/>
            <a:p>
              <a:endParaRPr lang="pt-BR"/>
            </a:p>
          </p:txBody>
        </p:sp>
        <p:sp>
          <p:nvSpPr>
            <p:cNvPr id="843" name="Forma Livre: Forma 842">
              <a:extLst>
                <a:ext uri="{FF2B5EF4-FFF2-40B4-BE49-F238E27FC236}">
                  <a16:creationId xmlns:a16="http://schemas.microsoft.com/office/drawing/2014/main" id="{13EE41D8-1DA7-65CA-F651-740F0282A2DC}"/>
                </a:ext>
              </a:extLst>
            </p:cNvPr>
            <p:cNvSpPr/>
            <p:nvPr/>
          </p:nvSpPr>
          <p:spPr>
            <a:xfrm>
              <a:off x="10439512" y="6619545"/>
              <a:ext cx="55467" cy="123260"/>
            </a:xfrm>
            <a:custGeom>
              <a:avLst/>
              <a:gdLst>
                <a:gd name="connsiteX0" fmla="*/ 55467 w 55467"/>
                <a:gd name="connsiteY0" fmla="*/ 123260 h 123260"/>
                <a:gd name="connsiteX1" fmla="*/ 55467 w 55467"/>
                <a:gd name="connsiteY1" fmla="*/ 0 h 123260"/>
                <a:gd name="connsiteX2" fmla="*/ 0 w 55467"/>
                <a:gd name="connsiteY2" fmla="*/ 0 h 123260"/>
              </a:gdLst>
              <a:ahLst/>
              <a:cxnLst>
                <a:cxn ang="0">
                  <a:pos x="connsiteX0" y="connsiteY0"/>
                </a:cxn>
                <a:cxn ang="0">
                  <a:pos x="connsiteX1" y="connsiteY1"/>
                </a:cxn>
                <a:cxn ang="0">
                  <a:pos x="connsiteX2" y="connsiteY2"/>
                </a:cxn>
              </a:cxnLst>
              <a:rect l="l" t="t" r="r" b="b"/>
              <a:pathLst>
                <a:path w="55467" h="123260">
                  <a:moveTo>
                    <a:pt x="55467" y="123260"/>
                  </a:moveTo>
                  <a:lnTo>
                    <a:pt x="55467" y="0"/>
                  </a:lnTo>
                  <a:lnTo>
                    <a:pt x="0" y="0"/>
                  </a:lnTo>
                </a:path>
              </a:pathLst>
            </a:custGeom>
            <a:noFill/>
            <a:ln w="12701" cap="flat">
              <a:solidFill>
                <a:schemeClr val="bg1"/>
              </a:solidFill>
              <a:prstDash val="solid"/>
              <a:round/>
            </a:ln>
          </p:spPr>
          <p:txBody>
            <a:bodyPr rtlCol="0" anchor="ctr"/>
            <a:lstStyle/>
            <a:p>
              <a:endParaRPr lang="pt-BR"/>
            </a:p>
          </p:txBody>
        </p:sp>
        <p:sp>
          <p:nvSpPr>
            <p:cNvPr id="844" name="Forma Livre: Forma 843">
              <a:extLst>
                <a:ext uri="{FF2B5EF4-FFF2-40B4-BE49-F238E27FC236}">
                  <a16:creationId xmlns:a16="http://schemas.microsoft.com/office/drawing/2014/main" id="{FACFF013-4066-409C-C0B3-B3583D8F6139}"/>
                </a:ext>
              </a:extLst>
            </p:cNvPr>
            <p:cNvSpPr/>
            <p:nvPr/>
          </p:nvSpPr>
          <p:spPr>
            <a:xfrm>
              <a:off x="10439512" y="6588730"/>
              <a:ext cx="36978" cy="30815"/>
            </a:xfrm>
            <a:custGeom>
              <a:avLst/>
              <a:gdLst>
                <a:gd name="connsiteX0" fmla="*/ 36978 w 36978"/>
                <a:gd name="connsiteY0" fmla="*/ 30815 h 30815"/>
                <a:gd name="connsiteX1" fmla="*/ 36978 w 36978"/>
                <a:gd name="connsiteY1" fmla="*/ 0 h 30815"/>
                <a:gd name="connsiteX2" fmla="*/ 0 w 36978"/>
                <a:gd name="connsiteY2" fmla="*/ 0 h 30815"/>
              </a:gdLst>
              <a:ahLst/>
              <a:cxnLst>
                <a:cxn ang="0">
                  <a:pos x="connsiteX0" y="connsiteY0"/>
                </a:cxn>
                <a:cxn ang="0">
                  <a:pos x="connsiteX1" y="connsiteY1"/>
                </a:cxn>
                <a:cxn ang="0">
                  <a:pos x="connsiteX2" y="connsiteY2"/>
                </a:cxn>
              </a:cxnLst>
              <a:rect l="l" t="t" r="r" b="b"/>
              <a:pathLst>
                <a:path w="36978" h="30815">
                  <a:moveTo>
                    <a:pt x="36978" y="30815"/>
                  </a:moveTo>
                  <a:lnTo>
                    <a:pt x="36978" y="0"/>
                  </a:lnTo>
                  <a:lnTo>
                    <a:pt x="0" y="0"/>
                  </a:lnTo>
                </a:path>
              </a:pathLst>
            </a:custGeom>
            <a:solidFill>
              <a:srgbClr val="FF5000"/>
            </a:solidFill>
            <a:ln w="12701" cap="flat">
              <a:solidFill>
                <a:schemeClr val="bg1"/>
              </a:solidFill>
              <a:prstDash val="solid"/>
              <a:round/>
            </a:ln>
          </p:spPr>
          <p:txBody>
            <a:bodyPr rtlCol="0" anchor="ctr"/>
            <a:lstStyle/>
            <a:p>
              <a:endParaRPr lang="pt-BR"/>
            </a:p>
          </p:txBody>
        </p:sp>
        <p:sp>
          <p:nvSpPr>
            <p:cNvPr id="845" name="Forma Livre: Forma 844">
              <a:extLst>
                <a:ext uri="{FF2B5EF4-FFF2-40B4-BE49-F238E27FC236}">
                  <a16:creationId xmlns:a16="http://schemas.microsoft.com/office/drawing/2014/main" id="{7ECD9BC8-F5C1-5607-85AE-2FC1990FD8E8}"/>
                </a:ext>
              </a:extLst>
            </p:cNvPr>
            <p:cNvSpPr/>
            <p:nvPr/>
          </p:nvSpPr>
          <p:spPr>
            <a:xfrm>
              <a:off x="10266948" y="6644197"/>
              <a:ext cx="18489" cy="6163"/>
            </a:xfrm>
            <a:custGeom>
              <a:avLst/>
              <a:gdLst>
                <a:gd name="connsiteX0" fmla="*/ 18489 w 18489"/>
                <a:gd name="connsiteY0" fmla="*/ 0 h 6163"/>
                <a:gd name="connsiteX1" fmla="*/ 0 w 18489"/>
                <a:gd name="connsiteY1" fmla="*/ 0 h 6163"/>
              </a:gdLst>
              <a:ahLst/>
              <a:cxnLst>
                <a:cxn ang="0">
                  <a:pos x="connsiteX0" y="connsiteY0"/>
                </a:cxn>
                <a:cxn ang="0">
                  <a:pos x="connsiteX1" y="connsiteY1"/>
                </a:cxn>
              </a:cxnLst>
              <a:rect l="l" t="t" r="r" b="b"/>
              <a:pathLst>
                <a:path w="18489" h="6163">
                  <a:moveTo>
                    <a:pt x="18489" y="0"/>
                  </a:moveTo>
                  <a:lnTo>
                    <a:pt x="0" y="0"/>
                  </a:lnTo>
                </a:path>
              </a:pathLst>
            </a:custGeom>
            <a:ln w="12701" cap="flat">
              <a:solidFill>
                <a:schemeClr val="bg1"/>
              </a:solidFill>
              <a:prstDash val="solid"/>
              <a:round/>
            </a:ln>
          </p:spPr>
          <p:txBody>
            <a:bodyPr rtlCol="0" anchor="ctr"/>
            <a:lstStyle/>
            <a:p>
              <a:endParaRPr lang="pt-BR"/>
            </a:p>
          </p:txBody>
        </p:sp>
        <p:sp>
          <p:nvSpPr>
            <p:cNvPr id="846" name="Forma Livre: Forma 845">
              <a:extLst>
                <a:ext uri="{FF2B5EF4-FFF2-40B4-BE49-F238E27FC236}">
                  <a16:creationId xmlns:a16="http://schemas.microsoft.com/office/drawing/2014/main" id="{074DC556-FE84-1A23-0DEC-3678DADD502B}"/>
                </a:ext>
              </a:extLst>
            </p:cNvPr>
            <p:cNvSpPr/>
            <p:nvPr/>
          </p:nvSpPr>
          <p:spPr>
            <a:xfrm>
              <a:off x="10266948" y="6668849"/>
              <a:ext cx="18489" cy="6163"/>
            </a:xfrm>
            <a:custGeom>
              <a:avLst/>
              <a:gdLst>
                <a:gd name="connsiteX0" fmla="*/ 18489 w 18489"/>
                <a:gd name="connsiteY0" fmla="*/ 0 h 6163"/>
                <a:gd name="connsiteX1" fmla="*/ 0 w 18489"/>
                <a:gd name="connsiteY1" fmla="*/ 0 h 6163"/>
              </a:gdLst>
              <a:ahLst/>
              <a:cxnLst>
                <a:cxn ang="0">
                  <a:pos x="connsiteX0" y="connsiteY0"/>
                </a:cxn>
                <a:cxn ang="0">
                  <a:pos x="connsiteX1" y="connsiteY1"/>
                </a:cxn>
              </a:cxnLst>
              <a:rect l="l" t="t" r="r" b="b"/>
              <a:pathLst>
                <a:path w="18489" h="6163">
                  <a:moveTo>
                    <a:pt x="18489" y="0"/>
                  </a:moveTo>
                  <a:lnTo>
                    <a:pt x="0" y="0"/>
                  </a:lnTo>
                </a:path>
              </a:pathLst>
            </a:custGeom>
            <a:ln w="12701" cap="flat">
              <a:solidFill>
                <a:schemeClr val="bg1"/>
              </a:solidFill>
              <a:prstDash val="solid"/>
              <a:round/>
            </a:ln>
          </p:spPr>
          <p:txBody>
            <a:bodyPr rtlCol="0" anchor="ctr"/>
            <a:lstStyle/>
            <a:p>
              <a:endParaRPr lang="pt-BR"/>
            </a:p>
          </p:txBody>
        </p:sp>
        <p:sp>
          <p:nvSpPr>
            <p:cNvPr id="847" name="Forma Livre: Forma 846">
              <a:extLst>
                <a:ext uri="{FF2B5EF4-FFF2-40B4-BE49-F238E27FC236}">
                  <a16:creationId xmlns:a16="http://schemas.microsoft.com/office/drawing/2014/main" id="{C86E8BFC-7129-D116-DAA0-5DF7E1EB04B8}"/>
                </a:ext>
              </a:extLst>
            </p:cNvPr>
            <p:cNvSpPr/>
            <p:nvPr/>
          </p:nvSpPr>
          <p:spPr>
            <a:xfrm>
              <a:off x="10266948" y="6693501"/>
              <a:ext cx="18489" cy="6163"/>
            </a:xfrm>
            <a:custGeom>
              <a:avLst/>
              <a:gdLst>
                <a:gd name="connsiteX0" fmla="*/ 18489 w 18489"/>
                <a:gd name="connsiteY0" fmla="*/ 0 h 6163"/>
                <a:gd name="connsiteX1" fmla="*/ 0 w 18489"/>
                <a:gd name="connsiteY1" fmla="*/ 0 h 6163"/>
              </a:gdLst>
              <a:ahLst/>
              <a:cxnLst>
                <a:cxn ang="0">
                  <a:pos x="connsiteX0" y="connsiteY0"/>
                </a:cxn>
                <a:cxn ang="0">
                  <a:pos x="connsiteX1" y="connsiteY1"/>
                </a:cxn>
              </a:cxnLst>
              <a:rect l="l" t="t" r="r" b="b"/>
              <a:pathLst>
                <a:path w="18489" h="6163">
                  <a:moveTo>
                    <a:pt x="18489" y="0"/>
                  </a:moveTo>
                  <a:lnTo>
                    <a:pt x="0" y="0"/>
                  </a:lnTo>
                </a:path>
              </a:pathLst>
            </a:custGeom>
            <a:ln w="12701" cap="flat">
              <a:solidFill>
                <a:schemeClr val="bg1"/>
              </a:solidFill>
              <a:prstDash val="solid"/>
              <a:round/>
            </a:ln>
          </p:spPr>
          <p:txBody>
            <a:bodyPr rtlCol="0" anchor="ctr"/>
            <a:lstStyle/>
            <a:p>
              <a:endParaRPr lang="pt-BR"/>
            </a:p>
          </p:txBody>
        </p:sp>
        <p:sp>
          <p:nvSpPr>
            <p:cNvPr id="848" name="Forma Livre: Forma 847">
              <a:extLst>
                <a:ext uri="{FF2B5EF4-FFF2-40B4-BE49-F238E27FC236}">
                  <a16:creationId xmlns:a16="http://schemas.microsoft.com/office/drawing/2014/main" id="{FDD237B8-67BD-1EF1-AD33-7A03B461D2B7}"/>
                </a:ext>
              </a:extLst>
            </p:cNvPr>
            <p:cNvSpPr/>
            <p:nvPr/>
          </p:nvSpPr>
          <p:spPr>
            <a:xfrm>
              <a:off x="10266948" y="6718153"/>
              <a:ext cx="18489" cy="6163"/>
            </a:xfrm>
            <a:custGeom>
              <a:avLst/>
              <a:gdLst>
                <a:gd name="connsiteX0" fmla="*/ 18489 w 18489"/>
                <a:gd name="connsiteY0" fmla="*/ 0 h 6163"/>
                <a:gd name="connsiteX1" fmla="*/ 0 w 18489"/>
                <a:gd name="connsiteY1" fmla="*/ 0 h 6163"/>
              </a:gdLst>
              <a:ahLst/>
              <a:cxnLst>
                <a:cxn ang="0">
                  <a:pos x="connsiteX0" y="connsiteY0"/>
                </a:cxn>
                <a:cxn ang="0">
                  <a:pos x="connsiteX1" y="connsiteY1"/>
                </a:cxn>
              </a:cxnLst>
              <a:rect l="l" t="t" r="r" b="b"/>
              <a:pathLst>
                <a:path w="18489" h="6163">
                  <a:moveTo>
                    <a:pt x="18489" y="0"/>
                  </a:moveTo>
                  <a:lnTo>
                    <a:pt x="0" y="0"/>
                  </a:lnTo>
                </a:path>
              </a:pathLst>
            </a:custGeom>
            <a:ln w="12701" cap="flat">
              <a:solidFill>
                <a:schemeClr val="bg1"/>
              </a:solidFill>
              <a:prstDash val="solid"/>
              <a:round/>
            </a:ln>
          </p:spPr>
          <p:txBody>
            <a:bodyPr rtlCol="0" anchor="ctr"/>
            <a:lstStyle/>
            <a:p>
              <a:endParaRPr lang="pt-BR"/>
            </a:p>
          </p:txBody>
        </p:sp>
        <p:sp>
          <p:nvSpPr>
            <p:cNvPr id="849" name="Forma Livre: Forma 848">
              <a:extLst>
                <a:ext uri="{FF2B5EF4-FFF2-40B4-BE49-F238E27FC236}">
                  <a16:creationId xmlns:a16="http://schemas.microsoft.com/office/drawing/2014/main" id="{A0BA6B64-EBE9-2E0C-14DE-BAB01055ECEB}"/>
                </a:ext>
              </a:extLst>
            </p:cNvPr>
            <p:cNvSpPr/>
            <p:nvPr/>
          </p:nvSpPr>
          <p:spPr>
            <a:xfrm>
              <a:off x="10248459" y="6619545"/>
              <a:ext cx="55467" cy="123260"/>
            </a:xfrm>
            <a:custGeom>
              <a:avLst/>
              <a:gdLst>
                <a:gd name="connsiteX0" fmla="*/ 0 w 55467"/>
                <a:gd name="connsiteY0" fmla="*/ 123260 h 123260"/>
                <a:gd name="connsiteX1" fmla="*/ 0 w 55467"/>
                <a:gd name="connsiteY1" fmla="*/ 0 h 123260"/>
                <a:gd name="connsiteX2" fmla="*/ 55467 w 55467"/>
                <a:gd name="connsiteY2" fmla="*/ 0 h 123260"/>
              </a:gdLst>
              <a:ahLst/>
              <a:cxnLst>
                <a:cxn ang="0">
                  <a:pos x="connsiteX0" y="connsiteY0"/>
                </a:cxn>
                <a:cxn ang="0">
                  <a:pos x="connsiteX1" y="connsiteY1"/>
                </a:cxn>
                <a:cxn ang="0">
                  <a:pos x="connsiteX2" y="connsiteY2"/>
                </a:cxn>
              </a:cxnLst>
              <a:rect l="l" t="t" r="r" b="b"/>
              <a:pathLst>
                <a:path w="55467" h="123260">
                  <a:moveTo>
                    <a:pt x="0" y="123260"/>
                  </a:moveTo>
                  <a:lnTo>
                    <a:pt x="0" y="0"/>
                  </a:lnTo>
                  <a:lnTo>
                    <a:pt x="55467" y="0"/>
                  </a:lnTo>
                </a:path>
              </a:pathLst>
            </a:custGeom>
            <a:noFill/>
            <a:ln w="12701" cap="flat">
              <a:solidFill>
                <a:schemeClr val="bg1"/>
              </a:solidFill>
              <a:prstDash val="solid"/>
              <a:round/>
            </a:ln>
          </p:spPr>
          <p:txBody>
            <a:bodyPr rtlCol="0" anchor="ctr"/>
            <a:lstStyle/>
            <a:p>
              <a:endParaRPr lang="pt-BR"/>
            </a:p>
          </p:txBody>
        </p:sp>
        <p:sp>
          <p:nvSpPr>
            <p:cNvPr id="850" name="Forma Livre: Forma 849">
              <a:extLst>
                <a:ext uri="{FF2B5EF4-FFF2-40B4-BE49-F238E27FC236}">
                  <a16:creationId xmlns:a16="http://schemas.microsoft.com/office/drawing/2014/main" id="{AE1A2D76-BEA0-44D1-5016-0E6EA46A1458}"/>
                </a:ext>
              </a:extLst>
            </p:cNvPr>
            <p:cNvSpPr/>
            <p:nvPr/>
          </p:nvSpPr>
          <p:spPr>
            <a:xfrm>
              <a:off x="10266948" y="6588730"/>
              <a:ext cx="36978" cy="30815"/>
            </a:xfrm>
            <a:custGeom>
              <a:avLst/>
              <a:gdLst>
                <a:gd name="connsiteX0" fmla="*/ 0 w 36978"/>
                <a:gd name="connsiteY0" fmla="*/ 30815 h 30815"/>
                <a:gd name="connsiteX1" fmla="*/ 0 w 36978"/>
                <a:gd name="connsiteY1" fmla="*/ 0 h 30815"/>
                <a:gd name="connsiteX2" fmla="*/ 36978 w 36978"/>
                <a:gd name="connsiteY2" fmla="*/ 0 h 30815"/>
              </a:gdLst>
              <a:ahLst/>
              <a:cxnLst>
                <a:cxn ang="0">
                  <a:pos x="connsiteX0" y="connsiteY0"/>
                </a:cxn>
                <a:cxn ang="0">
                  <a:pos x="connsiteX1" y="connsiteY1"/>
                </a:cxn>
                <a:cxn ang="0">
                  <a:pos x="connsiteX2" y="connsiteY2"/>
                </a:cxn>
              </a:cxnLst>
              <a:rect l="l" t="t" r="r" b="b"/>
              <a:pathLst>
                <a:path w="36978" h="30815">
                  <a:moveTo>
                    <a:pt x="0" y="30815"/>
                  </a:moveTo>
                  <a:lnTo>
                    <a:pt x="0" y="0"/>
                  </a:lnTo>
                  <a:lnTo>
                    <a:pt x="36978" y="0"/>
                  </a:lnTo>
                </a:path>
              </a:pathLst>
            </a:custGeom>
            <a:solidFill>
              <a:srgbClr val="FF5000"/>
            </a:solidFill>
            <a:ln w="12701" cap="flat">
              <a:solidFill>
                <a:schemeClr val="bg1"/>
              </a:solidFill>
              <a:prstDash val="solid"/>
              <a:round/>
            </a:ln>
          </p:spPr>
          <p:txBody>
            <a:bodyPr rtlCol="0" anchor="ctr"/>
            <a:lstStyle/>
            <a:p>
              <a:endParaRPr lang="pt-BR"/>
            </a:p>
          </p:txBody>
        </p:sp>
        <p:cxnSp>
          <p:nvCxnSpPr>
            <p:cNvPr id="799" name="Conector reto 798">
              <a:extLst>
                <a:ext uri="{FF2B5EF4-FFF2-40B4-BE49-F238E27FC236}">
                  <a16:creationId xmlns:a16="http://schemas.microsoft.com/office/drawing/2014/main" id="{EA257833-B3C0-A2C8-A2EB-4F45496369B6}"/>
                </a:ext>
              </a:extLst>
            </p:cNvPr>
            <p:cNvCxnSpPr>
              <a:cxnSpLocks/>
            </p:cNvCxnSpPr>
            <p:nvPr/>
          </p:nvCxnSpPr>
          <p:spPr>
            <a:xfrm>
              <a:off x="10240755" y="6742806"/>
              <a:ext cx="260388"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sp>
          <p:nvSpPr>
            <p:cNvPr id="830" name="Forma Livre: Forma 829">
              <a:extLst>
                <a:ext uri="{FF2B5EF4-FFF2-40B4-BE49-F238E27FC236}">
                  <a16:creationId xmlns:a16="http://schemas.microsoft.com/office/drawing/2014/main" id="{0A3B9200-0C2C-5C39-B43C-0F59E13C7981}"/>
                </a:ext>
              </a:extLst>
            </p:cNvPr>
            <p:cNvSpPr/>
            <p:nvPr/>
          </p:nvSpPr>
          <p:spPr>
            <a:xfrm>
              <a:off x="10303926" y="6508611"/>
              <a:ext cx="135586" cy="234194"/>
            </a:xfrm>
            <a:custGeom>
              <a:avLst/>
              <a:gdLst>
                <a:gd name="connsiteX0" fmla="*/ 0 w 135586"/>
                <a:gd name="connsiteY0" fmla="*/ 234195 h 234194"/>
                <a:gd name="connsiteX1" fmla="*/ 0 w 135586"/>
                <a:gd name="connsiteY1" fmla="*/ 0 h 234194"/>
                <a:gd name="connsiteX2" fmla="*/ 135587 w 135586"/>
                <a:gd name="connsiteY2" fmla="*/ 0 h 234194"/>
                <a:gd name="connsiteX3" fmla="*/ 135587 w 135586"/>
                <a:gd name="connsiteY3" fmla="*/ 234195 h 234194"/>
              </a:gdLst>
              <a:ahLst/>
              <a:cxnLst>
                <a:cxn ang="0">
                  <a:pos x="connsiteX0" y="connsiteY0"/>
                </a:cxn>
                <a:cxn ang="0">
                  <a:pos x="connsiteX1" y="connsiteY1"/>
                </a:cxn>
                <a:cxn ang="0">
                  <a:pos x="connsiteX2" y="connsiteY2"/>
                </a:cxn>
                <a:cxn ang="0">
                  <a:pos x="connsiteX3" y="connsiteY3"/>
                </a:cxn>
              </a:cxnLst>
              <a:rect l="l" t="t" r="r" b="b"/>
              <a:pathLst>
                <a:path w="135586" h="234194">
                  <a:moveTo>
                    <a:pt x="0" y="234195"/>
                  </a:moveTo>
                  <a:lnTo>
                    <a:pt x="0" y="0"/>
                  </a:lnTo>
                  <a:lnTo>
                    <a:pt x="135587" y="0"/>
                  </a:lnTo>
                  <a:lnTo>
                    <a:pt x="135587" y="234195"/>
                  </a:lnTo>
                </a:path>
              </a:pathLst>
            </a:custGeom>
            <a:noFill/>
            <a:ln w="12701" cap="flat">
              <a:solidFill>
                <a:schemeClr val="bg1"/>
              </a:solidFill>
              <a:prstDash val="solid"/>
              <a:round/>
            </a:ln>
          </p:spPr>
          <p:txBody>
            <a:bodyPr rtlCol="0" anchor="ctr"/>
            <a:lstStyle/>
            <a:p>
              <a:endParaRPr lang="pt-BR"/>
            </a:p>
          </p:txBody>
        </p:sp>
      </p:grpSp>
      <p:cxnSp>
        <p:nvCxnSpPr>
          <p:cNvPr id="802" name="Conector reto 801">
            <a:extLst>
              <a:ext uri="{FF2B5EF4-FFF2-40B4-BE49-F238E27FC236}">
                <a16:creationId xmlns:a16="http://schemas.microsoft.com/office/drawing/2014/main" id="{C4535248-14D3-AEFA-3FBF-7FF7F46E72DC}"/>
              </a:ext>
            </a:extLst>
          </p:cNvPr>
          <p:cNvCxnSpPr>
            <a:cxnSpLocks/>
          </p:cNvCxnSpPr>
          <p:nvPr/>
        </p:nvCxnSpPr>
        <p:spPr>
          <a:xfrm>
            <a:off x="13223077" y="6270807"/>
            <a:ext cx="691620"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grpSp>
        <p:nvGrpSpPr>
          <p:cNvPr id="810" name="Agrupar 809">
            <a:extLst>
              <a:ext uri="{FF2B5EF4-FFF2-40B4-BE49-F238E27FC236}">
                <a16:creationId xmlns:a16="http://schemas.microsoft.com/office/drawing/2014/main" id="{A404D051-8E46-0867-F47D-B942120E8217}"/>
              </a:ext>
            </a:extLst>
          </p:cNvPr>
          <p:cNvGrpSpPr/>
          <p:nvPr/>
        </p:nvGrpSpPr>
        <p:grpSpPr>
          <a:xfrm>
            <a:off x="10913280" y="4608636"/>
            <a:ext cx="271136" cy="287825"/>
            <a:chOff x="1254810" y="3958423"/>
            <a:chExt cx="450535" cy="478265"/>
          </a:xfrm>
        </p:grpSpPr>
        <p:grpSp>
          <p:nvGrpSpPr>
            <p:cNvPr id="811" name="Agrupar 810">
              <a:extLst>
                <a:ext uri="{FF2B5EF4-FFF2-40B4-BE49-F238E27FC236}">
                  <a16:creationId xmlns:a16="http://schemas.microsoft.com/office/drawing/2014/main" id="{3E47A1C5-F406-03CE-7BE5-727327601193}"/>
                </a:ext>
              </a:extLst>
            </p:cNvPr>
            <p:cNvGrpSpPr/>
            <p:nvPr/>
          </p:nvGrpSpPr>
          <p:grpSpPr>
            <a:xfrm>
              <a:off x="1254810" y="3958423"/>
              <a:ext cx="450535" cy="473984"/>
              <a:chOff x="1226926" y="3792328"/>
              <a:chExt cx="545688" cy="574090"/>
            </a:xfrm>
          </p:grpSpPr>
          <p:sp>
            <p:nvSpPr>
              <p:cNvPr id="813" name="Forma Livre: Forma 812">
                <a:extLst>
                  <a:ext uri="{FF2B5EF4-FFF2-40B4-BE49-F238E27FC236}">
                    <a16:creationId xmlns:a16="http://schemas.microsoft.com/office/drawing/2014/main" id="{C4DAB8EF-04D5-DC53-6BFC-E4E2E921FFD7}"/>
                  </a:ext>
                </a:extLst>
              </p:cNvPr>
              <p:cNvSpPr/>
              <p:nvPr/>
            </p:nvSpPr>
            <p:spPr>
              <a:xfrm>
                <a:off x="1226926" y="3896444"/>
                <a:ext cx="413399" cy="469974"/>
              </a:xfrm>
              <a:custGeom>
                <a:avLst/>
                <a:gdLst>
                  <a:gd name="connsiteX0" fmla="*/ 275523 w 413399"/>
                  <a:gd name="connsiteY0" fmla="*/ 159925 h 469974"/>
                  <a:gd name="connsiteX1" fmla="*/ 211370 w 413399"/>
                  <a:gd name="connsiteY1" fmla="*/ 53436 h 469974"/>
                  <a:gd name="connsiteX2" fmla="*/ 91943 w 413399"/>
                  <a:gd name="connsiteY2" fmla="*/ 0 h 469974"/>
                  <a:gd name="connsiteX3" fmla="*/ 0 w 413399"/>
                  <a:gd name="connsiteY3" fmla="*/ 163523 h 469974"/>
                  <a:gd name="connsiteX4" fmla="*/ 109015 w 413399"/>
                  <a:gd name="connsiteY4" fmla="*/ 414625 h 469974"/>
                  <a:gd name="connsiteX5" fmla="*/ 230815 w 413399"/>
                  <a:gd name="connsiteY5" fmla="*/ 469975 h 469974"/>
                  <a:gd name="connsiteX6" fmla="*/ 400921 w 413399"/>
                  <a:gd name="connsiteY6" fmla="*/ 469975 h 469974"/>
                  <a:gd name="connsiteX7" fmla="*/ 413400 w 413399"/>
                  <a:gd name="connsiteY7" fmla="*/ 429247 h 469974"/>
                  <a:gd name="connsiteX8" fmla="*/ 383314 w 413399"/>
                  <a:gd name="connsiteY8" fmla="*/ 339065 h 469974"/>
                  <a:gd name="connsiteX9" fmla="*/ 383620 w 413399"/>
                  <a:gd name="connsiteY9" fmla="*/ 268557 h 469974"/>
                  <a:gd name="connsiteX10" fmla="*/ 334088 w 413399"/>
                  <a:gd name="connsiteY10" fmla="*/ 266337 h 469974"/>
                  <a:gd name="connsiteX11" fmla="*/ 318318 w 413399"/>
                  <a:gd name="connsiteY11" fmla="*/ 197743 h 469974"/>
                  <a:gd name="connsiteX12" fmla="*/ 275523 w 413399"/>
                  <a:gd name="connsiteY12" fmla="*/ 159925 h 46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399" h="469974">
                    <a:moveTo>
                      <a:pt x="275523" y="159925"/>
                    </a:moveTo>
                    <a:lnTo>
                      <a:pt x="211370" y="53436"/>
                    </a:lnTo>
                    <a:lnTo>
                      <a:pt x="91943" y="0"/>
                    </a:lnTo>
                    <a:lnTo>
                      <a:pt x="0" y="163523"/>
                    </a:lnTo>
                    <a:lnTo>
                      <a:pt x="109015" y="414625"/>
                    </a:lnTo>
                    <a:lnTo>
                      <a:pt x="230815" y="469975"/>
                    </a:lnTo>
                    <a:lnTo>
                      <a:pt x="400921" y="469975"/>
                    </a:lnTo>
                    <a:lnTo>
                      <a:pt x="413400" y="429247"/>
                    </a:lnTo>
                    <a:lnTo>
                      <a:pt x="383314" y="339065"/>
                    </a:lnTo>
                    <a:lnTo>
                      <a:pt x="383620" y="268557"/>
                    </a:lnTo>
                    <a:lnTo>
                      <a:pt x="334088" y="266337"/>
                    </a:lnTo>
                    <a:lnTo>
                      <a:pt x="318318" y="197743"/>
                    </a:lnTo>
                    <a:lnTo>
                      <a:pt x="275523" y="159925"/>
                    </a:lnTo>
                    <a:close/>
                  </a:path>
                </a:pathLst>
              </a:custGeom>
              <a:noFill/>
              <a:ln w="12700" cap="rnd">
                <a:solidFill>
                  <a:schemeClr val="bg1"/>
                </a:solidFill>
                <a:prstDash val="solid"/>
                <a:round/>
              </a:ln>
            </p:spPr>
            <p:txBody>
              <a:bodyPr rtlCol="0" anchor="ctr"/>
              <a:lstStyle/>
              <a:p>
                <a:endParaRPr lang="pt-BR"/>
              </a:p>
            </p:txBody>
          </p:sp>
          <p:sp>
            <p:nvSpPr>
              <p:cNvPr id="814" name="Forma Livre: Forma 813">
                <a:extLst>
                  <a:ext uri="{FF2B5EF4-FFF2-40B4-BE49-F238E27FC236}">
                    <a16:creationId xmlns:a16="http://schemas.microsoft.com/office/drawing/2014/main" id="{3FC5C22E-1731-CC36-B195-F74CF569B658}"/>
                  </a:ext>
                </a:extLst>
              </p:cNvPr>
              <p:cNvSpPr/>
              <p:nvPr/>
            </p:nvSpPr>
            <p:spPr>
              <a:xfrm>
                <a:off x="1629609" y="4162780"/>
                <a:ext cx="44708" cy="125780"/>
              </a:xfrm>
              <a:custGeom>
                <a:avLst/>
                <a:gdLst>
                  <a:gd name="connsiteX0" fmla="*/ 44708 w 44708"/>
                  <a:gd name="connsiteY0" fmla="*/ 0 h 125780"/>
                  <a:gd name="connsiteX1" fmla="*/ 0 w 44708"/>
                  <a:gd name="connsiteY1" fmla="*/ 125781 h 125780"/>
                </a:gdLst>
                <a:ahLst/>
                <a:cxnLst>
                  <a:cxn ang="0">
                    <a:pos x="connsiteX0" y="connsiteY0"/>
                  </a:cxn>
                  <a:cxn ang="0">
                    <a:pos x="connsiteX1" y="connsiteY1"/>
                  </a:cxn>
                </a:cxnLst>
                <a:rect l="l" t="t" r="r" b="b"/>
                <a:pathLst>
                  <a:path w="44708" h="125780">
                    <a:moveTo>
                      <a:pt x="44708" y="0"/>
                    </a:moveTo>
                    <a:lnTo>
                      <a:pt x="0" y="125781"/>
                    </a:lnTo>
                  </a:path>
                </a:pathLst>
              </a:custGeom>
              <a:ln w="12700" cap="rnd">
                <a:solidFill>
                  <a:schemeClr val="bg1"/>
                </a:solidFill>
                <a:prstDash val="solid"/>
                <a:round/>
              </a:ln>
            </p:spPr>
            <p:txBody>
              <a:bodyPr rtlCol="0" anchor="ctr"/>
              <a:lstStyle/>
              <a:p>
                <a:endParaRPr lang="pt-BR"/>
              </a:p>
            </p:txBody>
          </p:sp>
          <p:sp>
            <p:nvSpPr>
              <p:cNvPr id="815" name="Forma Livre: Forma 814">
                <a:extLst>
                  <a:ext uri="{FF2B5EF4-FFF2-40B4-BE49-F238E27FC236}">
                    <a16:creationId xmlns:a16="http://schemas.microsoft.com/office/drawing/2014/main" id="{FC3034B9-0EB9-4FEE-C127-954A34D7F7C3}"/>
                  </a:ext>
                </a:extLst>
              </p:cNvPr>
              <p:cNvSpPr/>
              <p:nvPr/>
            </p:nvSpPr>
            <p:spPr>
              <a:xfrm>
                <a:off x="1457741" y="3883751"/>
                <a:ext cx="270803" cy="179660"/>
              </a:xfrm>
              <a:custGeom>
                <a:avLst/>
                <a:gdLst>
                  <a:gd name="connsiteX0" fmla="*/ 0 w 270803"/>
                  <a:gd name="connsiteY0" fmla="*/ 98435 h 179660"/>
                  <a:gd name="connsiteX1" fmla="*/ 64230 w 270803"/>
                  <a:gd name="connsiteY1" fmla="*/ 18970 h 179660"/>
                  <a:gd name="connsiteX2" fmla="*/ 113302 w 270803"/>
                  <a:gd name="connsiteY2" fmla="*/ 2817 h 179660"/>
                  <a:gd name="connsiteX3" fmla="*/ 245207 w 270803"/>
                  <a:gd name="connsiteY3" fmla="*/ 70568 h 179660"/>
                  <a:gd name="connsiteX4" fmla="*/ 268633 w 270803"/>
                  <a:gd name="connsiteY4" fmla="*/ 121172 h 179660"/>
                  <a:gd name="connsiteX5" fmla="*/ 251944 w 270803"/>
                  <a:gd name="connsiteY5" fmla="*/ 179660 h 17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03" h="179660">
                    <a:moveTo>
                      <a:pt x="0" y="98435"/>
                    </a:moveTo>
                    <a:lnTo>
                      <a:pt x="64230" y="18970"/>
                    </a:lnTo>
                    <a:cubicBezTo>
                      <a:pt x="74565" y="2434"/>
                      <a:pt x="95159" y="-4303"/>
                      <a:pt x="113302" y="2817"/>
                    </a:cubicBezTo>
                    <a:lnTo>
                      <a:pt x="245207" y="70568"/>
                    </a:lnTo>
                    <a:cubicBezTo>
                      <a:pt x="265265" y="78454"/>
                      <a:pt x="275600" y="100808"/>
                      <a:pt x="268633" y="121172"/>
                    </a:cubicBezTo>
                    <a:lnTo>
                      <a:pt x="251944" y="179660"/>
                    </a:lnTo>
                  </a:path>
                </a:pathLst>
              </a:custGeom>
              <a:noFill/>
              <a:ln w="12700" cap="rnd">
                <a:solidFill>
                  <a:schemeClr val="bg1"/>
                </a:solidFill>
                <a:prstDash val="solid"/>
                <a:round/>
              </a:ln>
            </p:spPr>
            <p:txBody>
              <a:bodyPr rtlCol="0" anchor="ctr"/>
              <a:lstStyle/>
              <a:p>
                <a:endParaRPr lang="pt-BR"/>
              </a:p>
            </p:txBody>
          </p:sp>
          <p:sp>
            <p:nvSpPr>
              <p:cNvPr id="816" name="Forma Livre: Forma 815">
                <a:extLst>
                  <a:ext uri="{FF2B5EF4-FFF2-40B4-BE49-F238E27FC236}">
                    <a16:creationId xmlns:a16="http://schemas.microsoft.com/office/drawing/2014/main" id="{87693096-313C-0654-3614-1B41B0B261F2}"/>
                  </a:ext>
                </a:extLst>
              </p:cNvPr>
              <p:cNvSpPr/>
              <p:nvPr/>
            </p:nvSpPr>
            <p:spPr>
              <a:xfrm>
                <a:off x="1226926" y="4025440"/>
                <a:ext cx="166278" cy="35904"/>
              </a:xfrm>
              <a:custGeom>
                <a:avLst/>
                <a:gdLst>
                  <a:gd name="connsiteX0" fmla="*/ 0 w 166278"/>
                  <a:gd name="connsiteY0" fmla="*/ 34527 h 35904"/>
                  <a:gd name="connsiteX1" fmla="*/ 85513 w 166278"/>
                  <a:gd name="connsiteY1" fmla="*/ 35905 h 35904"/>
                  <a:gd name="connsiteX2" fmla="*/ 166279 w 166278"/>
                  <a:gd name="connsiteY2" fmla="*/ 0 h 35904"/>
                </a:gdLst>
                <a:ahLst/>
                <a:cxnLst>
                  <a:cxn ang="0">
                    <a:pos x="connsiteX0" y="connsiteY0"/>
                  </a:cxn>
                  <a:cxn ang="0">
                    <a:pos x="connsiteX1" y="connsiteY1"/>
                  </a:cxn>
                  <a:cxn ang="0">
                    <a:pos x="connsiteX2" y="connsiteY2"/>
                  </a:cxn>
                </a:cxnLst>
                <a:rect l="l" t="t" r="r" b="b"/>
                <a:pathLst>
                  <a:path w="166278" h="35904">
                    <a:moveTo>
                      <a:pt x="0" y="34527"/>
                    </a:moveTo>
                    <a:lnTo>
                      <a:pt x="85513" y="35905"/>
                    </a:lnTo>
                    <a:lnTo>
                      <a:pt x="166279" y="0"/>
                    </a:lnTo>
                  </a:path>
                </a:pathLst>
              </a:custGeom>
              <a:noFill/>
              <a:ln w="12700" cap="rnd">
                <a:solidFill>
                  <a:schemeClr val="bg1"/>
                </a:solidFill>
                <a:prstDash val="solid"/>
                <a:round/>
              </a:ln>
            </p:spPr>
            <p:txBody>
              <a:bodyPr rtlCol="0" anchor="ctr"/>
              <a:lstStyle/>
              <a:p>
                <a:endParaRPr lang="pt-BR"/>
              </a:p>
            </p:txBody>
          </p:sp>
          <p:sp>
            <p:nvSpPr>
              <p:cNvPr id="817" name="Forma Livre: Forma 816">
                <a:extLst>
                  <a:ext uri="{FF2B5EF4-FFF2-40B4-BE49-F238E27FC236}">
                    <a16:creationId xmlns:a16="http://schemas.microsoft.com/office/drawing/2014/main" id="{C12EFB7F-73A8-A9E0-5E16-53B0C144E27D}"/>
                  </a:ext>
                </a:extLst>
              </p:cNvPr>
              <p:cNvSpPr/>
              <p:nvPr/>
            </p:nvSpPr>
            <p:spPr>
              <a:xfrm>
                <a:off x="1335941" y="4255260"/>
                <a:ext cx="137799" cy="55808"/>
              </a:xfrm>
              <a:custGeom>
                <a:avLst/>
                <a:gdLst>
                  <a:gd name="connsiteX0" fmla="*/ 0 w 137799"/>
                  <a:gd name="connsiteY0" fmla="*/ 55809 h 55808"/>
                  <a:gd name="connsiteX1" fmla="*/ 58718 w 137799"/>
                  <a:gd name="connsiteY1" fmla="*/ 0 h 55808"/>
                  <a:gd name="connsiteX2" fmla="*/ 137800 w 137799"/>
                  <a:gd name="connsiteY2" fmla="*/ 33455 h 55808"/>
                </a:gdLst>
                <a:ahLst/>
                <a:cxnLst>
                  <a:cxn ang="0">
                    <a:pos x="connsiteX0" y="connsiteY0"/>
                  </a:cxn>
                  <a:cxn ang="0">
                    <a:pos x="connsiteX1" y="connsiteY1"/>
                  </a:cxn>
                  <a:cxn ang="0">
                    <a:pos x="connsiteX2" y="connsiteY2"/>
                  </a:cxn>
                </a:cxnLst>
                <a:rect l="l" t="t" r="r" b="b"/>
                <a:pathLst>
                  <a:path w="137799" h="55808">
                    <a:moveTo>
                      <a:pt x="0" y="55809"/>
                    </a:moveTo>
                    <a:lnTo>
                      <a:pt x="58718" y="0"/>
                    </a:lnTo>
                    <a:lnTo>
                      <a:pt x="137800" y="33455"/>
                    </a:lnTo>
                  </a:path>
                </a:pathLst>
              </a:custGeom>
              <a:noFill/>
              <a:ln w="12700" cap="rnd">
                <a:solidFill>
                  <a:schemeClr val="bg1"/>
                </a:solidFill>
                <a:prstDash val="solid"/>
                <a:round/>
              </a:ln>
            </p:spPr>
            <p:txBody>
              <a:bodyPr rtlCol="0" anchor="ctr"/>
              <a:lstStyle/>
              <a:p>
                <a:endParaRPr lang="pt-BR"/>
              </a:p>
            </p:txBody>
          </p:sp>
          <p:sp>
            <p:nvSpPr>
              <p:cNvPr id="818" name="Forma Livre: Forma 817">
                <a:extLst>
                  <a:ext uri="{FF2B5EF4-FFF2-40B4-BE49-F238E27FC236}">
                    <a16:creationId xmlns:a16="http://schemas.microsoft.com/office/drawing/2014/main" id="{AD70490E-413A-F014-DD95-DBFC69B0876D}"/>
                  </a:ext>
                </a:extLst>
              </p:cNvPr>
              <p:cNvSpPr/>
              <p:nvPr/>
            </p:nvSpPr>
            <p:spPr>
              <a:xfrm>
                <a:off x="1583752" y="4327528"/>
                <a:ext cx="44095" cy="38890"/>
              </a:xfrm>
              <a:custGeom>
                <a:avLst/>
                <a:gdLst>
                  <a:gd name="connsiteX0" fmla="*/ 44096 w 44095"/>
                  <a:gd name="connsiteY0" fmla="*/ 38890 h 38890"/>
                  <a:gd name="connsiteX1" fmla="*/ 0 w 44095"/>
                  <a:gd name="connsiteY1" fmla="*/ 0 h 38890"/>
                </a:gdLst>
                <a:ahLst/>
                <a:cxnLst>
                  <a:cxn ang="0">
                    <a:pos x="connsiteX0" y="connsiteY0"/>
                  </a:cxn>
                  <a:cxn ang="0">
                    <a:pos x="connsiteX1" y="connsiteY1"/>
                  </a:cxn>
                </a:cxnLst>
                <a:rect l="l" t="t" r="r" b="b"/>
                <a:pathLst>
                  <a:path w="44095" h="38890">
                    <a:moveTo>
                      <a:pt x="44096" y="38890"/>
                    </a:moveTo>
                    <a:lnTo>
                      <a:pt x="0" y="0"/>
                    </a:lnTo>
                  </a:path>
                </a:pathLst>
              </a:custGeom>
              <a:ln w="12700" cap="rnd">
                <a:solidFill>
                  <a:schemeClr val="bg1"/>
                </a:solidFill>
                <a:prstDash val="solid"/>
                <a:round/>
              </a:ln>
            </p:spPr>
            <p:txBody>
              <a:bodyPr rtlCol="0" anchor="ctr"/>
              <a:lstStyle/>
              <a:p>
                <a:endParaRPr lang="pt-BR"/>
              </a:p>
            </p:txBody>
          </p:sp>
          <p:sp>
            <p:nvSpPr>
              <p:cNvPr id="819" name="Forma Livre: Forma 818">
                <a:extLst>
                  <a:ext uri="{FF2B5EF4-FFF2-40B4-BE49-F238E27FC236}">
                    <a16:creationId xmlns:a16="http://schemas.microsoft.com/office/drawing/2014/main" id="{EA37DE03-3B64-B17B-C4B0-B404299D9DF1}"/>
                  </a:ext>
                </a:extLst>
              </p:cNvPr>
              <p:cNvSpPr/>
              <p:nvPr/>
            </p:nvSpPr>
            <p:spPr>
              <a:xfrm>
                <a:off x="1580843" y="3792328"/>
                <a:ext cx="79005" cy="79005"/>
              </a:xfrm>
              <a:custGeom>
                <a:avLst/>
                <a:gdLst>
                  <a:gd name="connsiteX0" fmla="*/ 39503 w 79005"/>
                  <a:gd name="connsiteY0" fmla="*/ 79005 h 79005"/>
                  <a:gd name="connsiteX1" fmla="*/ 0 w 79005"/>
                  <a:gd name="connsiteY1" fmla="*/ 39503 h 79005"/>
                  <a:gd name="connsiteX2" fmla="*/ 39503 w 79005"/>
                  <a:gd name="connsiteY2" fmla="*/ 0 h 79005"/>
                  <a:gd name="connsiteX3" fmla="*/ 79005 w 79005"/>
                  <a:gd name="connsiteY3" fmla="*/ 39503 h 79005"/>
                  <a:gd name="connsiteX4" fmla="*/ 39503 w 79005"/>
                  <a:gd name="connsiteY4" fmla="*/ 79005 h 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05" h="79005">
                    <a:moveTo>
                      <a:pt x="39503" y="79005"/>
                    </a:moveTo>
                    <a:cubicBezTo>
                      <a:pt x="33684" y="61168"/>
                      <a:pt x="17761" y="45321"/>
                      <a:pt x="0" y="39503"/>
                    </a:cubicBezTo>
                    <a:cubicBezTo>
                      <a:pt x="17837" y="33684"/>
                      <a:pt x="33684" y="17761"/>
                      <a:pt x="39503" y="0"/>
                    </a:cubicBezTo>
                    <a:cubicBezTo>
                      <a:pt x="45321" y="17761"/>
                      <a:pt x="61244" y="33684"/>
                      <a:pt x="79005" y="39503"/>
                    </a:cubicBezTo>
                    <a:cubicBezTo>
                      <a:pt x="61168" y="45321"/>
                      <a:pt x="45321" y="61244"/>
                      <a:pt x="39503" y="79005"/>
                    </a:cubicBezTo>
                    <a:close/>
                  </a:path>
                </a:pathLst>
              </a:custGeom>
              <a:noFill/>
              <a:ln w="12700" cap="rnd">
                <a:solidFill>
                  <a:schemeClr val="bg1"/>
                </a:solidFill>
                <a:prstDash val="solid"/>
                <a:round/>
              </a:ln>
            </p:spPr>
            <p:txBody>
              <a:bodyPr rtlCol="0" anchor="ctr"/>
              <a:lstStyle/>
              <a:p>
                <a:endParaRPr lang="pt-BR"/>
              </a:p>
            </p:txBody>
          </p:sp>
          <p:sp>
            <p:nvSpPr>
              <p:cNvPr id="820" name="Forma Livre: Forma 819">
                <a:extLst>
                  <a:ext uri="{FF2B5EF4-FFF2-40B4-BE49-F238E27FC236}">
                    <a16:creationId xmlns:a16="http://schemas.microsoft.com/office/drawing/2014/main" id="{93C14970-8828-4496-E5AF-0AE3B5BA66C6}"/>
                  </a:ext>
                </a:extLst>
              </p:cNvPr>
              <p:cNvSpPr/>
              <p:nvPr/>
            </p:nvSpPr>
            <p:spPr>
              <a:xfrm>
                <a:off x="1662757" y="4082321"/>
                <a:ext cx="62316" cy="62316"/>
              </a:xfrm>
              <a:custGeom>
                <a:avLst/>
                <a:gdLst>
                  <a:gd name="connsiteX0" fmla="*/ 31158 w 62316"/>
                  <a:gd name="connsiteY0" fmla="*/ 62316 h 62316"/>
                  <a:gd name="connsiteX1" fmla="*/ 0 w 62316"/>
                  <a:gd name="connsiteY1" fmla="*/ 31158 h 62316"/>
                  <a:gd name="connsiteX2" fmla="*/ 31158 w 62316"/>
                  <a:gd name="connsiteY2" fmla="*/ 0 h 62316"/>
                  <a:gd name="connsiteX3" fmla="*/ 62316 w 62316"/>
                  <a:gd name="connsiteY3" fmla="*/ 31158 h 62316"/>
                  <a:gd name="connsiteX4" fmla="*/ 31158 w 62316"/>
                  <a:gd name="connsiteY4" fmla="*/ 62316 h 62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16" h="62316">
                    <a:moveTo>
                      <a:pt x="31158" y="62316"/>
                    </a:moveTo>
                    <a:cubicBezTo>
                      <a:pt x="26565" y="48307"/>
                      <a:pt x="14010" y="35751"/>
                      <a:pt x="0" y="31158"/>
                    </a:cubicBezTo>
                    <a:cubicBezTo>
                      <a:pt x="14010" y="26565"/>
                      <a:pt x="26565" y="14010"/>
                      <a:pt x="31158" y="0"/>
                    </a:cubicBezTo>
                    <a:cubicBezTo>
                      <a:pt x="35751" y="14010"/>
                      <a:pt x="48307" y="26565"/>
                      <a:pt x="62316" y="31158"/>
                    </a:cubicBezTo>
                    <a:cubicBezTo>
                      <a:pt x="48307" y="35751"/>
                      <a:pt x="35751" y="48307"/>
                      <a:pt x="31158" y="62316"/>
                    </a:cubicBezTo>
                    <a:close/>
                  </a:path>
                </a:pathLst>
              </a:custGeom>
              <a:noFill/>
              <a:ln w="12700" cap="rnd">
                <a:solidFill>
                  <a:schemeClr val="bg1"/>
                </a:solidFill>
                <a:prstDash val="solid"/>
                <a:round/>
              </a:ln>
            </p:spPr>
            <p:txBody>
              <a:bodyPr rtlCol="0" anchor="ctr"/>
              <a:lstStyle/>
              <a:p>
                <a:endParaRPr lang="pt-BR"/>
              </a:p>
            </p:txBody>
          </p:sp>
          <p:sp>
            <p:nvSpPr>
              <p:cNvPr id="821" name="Forma Livre: Forma 820">
                <a:extLst>
                  <a:ext uri="{FF2B5EF4-FFF2-40B4-BE49-F238E27FC236}">
                    <a16:creationId xmlns:a16="http://schemas.microsoft.com/office/drawing/2014/main" id="{D08B8EC3-4EA2-E225-6D43-9BD7650DB79A}"/>
                  </a:ext>
                </a:extLst>
              </p:cNvPr>
              <p:cNvSpPr/>
              <p:nvPr/>
            </p:nvSpPr>
            <p:spPr>
              <a:xfrm>
                <a:off x="1560020" y="3971391"/>
                <a:ext cx="7655" cy="47464"/>
              </a:xfrm>
              <a:custGeom>
                <a:avLst/>
                <a:gdLst>
                  <a:gd name="connsiteX0" fmla="*/ 0 w 7655"/>
                  <a:gd name="connsiteY0" fmla="*/ 0 h 47464"/>
                  <a:gd name="connsiteX1" fmla="*/ 0 w 7655"/>
                  <a:gd name="connsiteY1" fmla="*/ 47464 h 47464"/>
                </a:gdLst>
                <a:ahLst/>
                <a:cxnLst>
                  <a:cxn ang="0">
                    <a:pos x="connsiteX0" y="connsiteY0"/>
                  </a:cxn>
                  <a:cxn ang="0">
                    <a:pos x="connsiteX1" y="connsiteY1"/>
                  </a:cxn>
                </a:cxnLst>
                <a:rect l="l" t="t" r="r" b="b"/>
                <a:pathLst>
                  <a:path w="7655" h="47464">
                    <a:moveTo>
                      <a:pt x="0" y="0"/>
                    </a:moveTo>
                    <a:lnTo>
                      <a:pt x="0" y="47464"/>
                    </a:lnTo>
                  </a:path>
                </a:pathLst>
              </a:custGeom>
              <a:ln w="12700" cap="rnd">
                <a:solidFill>
                  <a:schemeClr val="bg1"/>
                </a:solidFill>
                <a:prstDash val="solid"/>
                <a:round/>
              </a:ln>
            </p:spPr>
            <p:txBody>
              <a:bodyPr rtlCol="0" anchor="ctr"/>
              <a:lstStyle/>
              <a:p>
                <a:endParaRPr lang="pt-BR"/>
              </a:p>
            </p:txBody>
          </p:sp>
          <p:sp>
            <p:nvSpPr>
              <p:cNvPr id="822" name="Forma Livre: Forma 821">
                <a:extLst>
                  <a:ext uri="{FF2B5EF4-FFF2-40B4-BE49-F238E27FC236}">
                    <a16:creationId xmlns:a16="http://schemas.microsoft.com/office/drawing/2014/main" id="{77BBC7CF-D23A-4ABD-2947-6CEE9E94E59E}"/>
                  </a:ext>
                </a:extLst>
              </p:cNvPr>
              <p:cNvSpPr/>
              <p:nvPr/>
            </p:nvSpPr>
            <p:spPr>
              <a:xfrm>
                <a:off x="1536287" y="3995124"/>
                <a:ext cx="47464" cy="7655"/>
              </a:xfrm>
              <a:custGeom>
                <a:avLst/>
                <a:gdLst>
                  <a:gd name="connsiteX0" fmla="*/ 0 w 47464"/>
                  <a:gd name="connsiteY0" fmla="*/ 0 h 7655"/>
                  <a:gd name="connsiteX1" fmla="*/ 47464 w 47464"/>
                  <a:gd name="connsiteY1" fmla="*/ 0 h 7655"/>
                </a:gdLst>
                <a:ahLst/>
                <a:cxnLst>
                  <a:cxn ang="0">
                    <a:pos x="connsiteX0" y="connsiteY0"/>
                  </a:cxn>
                  <a:cxn ang="0">
                    <a:pos x="connsiteX1" y="connsiteY1"/>
                  </a:cxn>
                </a:cxnLst>
                <a:rect l="l" t="t" r="r" b="b"/>
                <a:pathLst>
                  <a:path w="47464" h="7655">
                    <a:moveTo>
                      <a:pt x="0" y="0"/>
                    </a:moveTo>
                    <a:lnTo>
                      <a:pt x="47464" y="0"/>
                    </a:lnTo>
                  </a:path>
                </a:pathLst>
              </a:custGeom>
              <a:ln w="12700" cap="rnd">
                <a:solidFill>
                  <a:schemeClr val="bg1"/>
                </a:solidFill>
                <a:prstDash val="solid"/>
                <a:round/>
              </a:ln>
            </p:spPr>
            <p:txBody>
              <a:bodyPr rtlCol="0" anchor="ctr"/>
              <a:lstStyle/>
              <a:p>
                <a:endParaRPr lang="pt-BR"/>
              </a:p>
            </p:txBody>
          </p:sp>
          <p:sp>
            <p:nvSpPr>
              <p:cNvPr id="823" name="Forma Livre: Forma 822">
                <a:extLst>
                  <a:ext uri="{FF2B5EF4-FFF2-40B4-BE49-F238E27FC236}">
                    <a16:creationId xmlns:a16="http://schemas.microsoft.com/office/drawing/2014/main" id="{4B3A67DD-CFE6-6904-4688-C43CA0288965}"/>
                  </a:ext>
                </a:extLst>
              </p:cNvPr>
              <p:cNvSpPr/>
              <p:nvPr/>
            </p:nvSpPr>
            <p:spPr>
              <a:xfrm>
                <a:off x="1560020" y="4162780"/>
                <a:ext cx="995" cy="52134"/>
              </a:xfrm>
              <a:custGeom>
                <a:avLst/>
                <a:gdLst>
                  <a:gd name="connsiteX0" fmla="*/ 995 w 995"/>
                  <a:gd name="connsiteY0" fmla="*/ 0 h 52134"/>
                  <a:gd name="connsiteX1" fmla="*/ 0 w 995"/>
                  <a:gd name="connsiteY1" fmla="*/ 52134 h 52134"/>
                </a:gdLst>
                <a:ahLst/>
                <a:cxnLst>
                  <a:cxn ang="0">
                    <a:pos x="connsiteX0" y="connsiteY0"/>
                  </a:cxn>
                  <a:cxn ang="0">
                    <a:pos x="connsiteX1" y="connsiteY1"/>
                  </a:cxn>
                </a:cxnLst>
                <a:rect l="l" t="t" r="r" b="b"/>
                <a:pathLst>
                  <a:path w="995" h="52134">
                    <a:moveTo>
                      <a:pt x="995" y="0"/>
                    </a:moveTo>
                    <a:lnTo>
                      <a:pt x="0" y="52134"/>
                    </a:lnTo>
                  </a:path>
                </a:pathLst>
              </a:custGeom>
              <a:ln w="12700" cap="rnd">
                <a:solidFill>
                  <a:schemeClr val="bg1"/>
                </a:solidFill>
                <a:prstDash val="solid"/>
                <a:round/>
              </a:ln>
            </p:spPr>
            <p:txBody>
              <a:bodyPr rtlCol="0" anchor="ctr"/>
              <a:lstStyle/>
              <a:p>
                <a:endParaRPr lang="pt-BR"/>
              </a:p>
            </p:txBody>
          </p:sp>
          <p:sp>
            <p:nvSpPr>
              <p:cNvPr id="824" name="Forma Livre: Forma 823">
                <a:extLst>
                  <a:ext uri="{FF2B5EF4-FFF2-40B4-BE49-F238E27FC236}">
                    <a16:creationId xmlns:a16="http://schemas.microsoft.com/office/drawing/2014/main" id="{69F38787-3735-81F3-D0E4-81A89DCC6E28}"/>
                  </a:ext>
                </a:extLst>
              </p:cNvPr>
              <p:cNvSpPr/>
              <p:nvPr/>
            </p:nvSpPr>
            <p:spPr>
              <a:xfrm>
                <a:off x="1388305" y="4056368"/>
                <a:ext cx="114144" cy="141551"/>
              </a:xfrm>
              <a:custGeom>
                <a:avLst/>
                <a:gdLst>
                  <a:gd name="connsiteX0" fmla="*/ 114144 w 114144"/>
                  <a:gd name="connsiteY0" fmla="*/ 0 h 141551"/>
                  <a:gd name="connsiteX1" fmla="*/ 51369 w 114144"/>
                  <a:gd name="connsiteY1" fmla="*/ 44096 h 141551"/>
                  <a:gd name="connsiteX2" fmla="*/ 45091 w 114144"/>
                  <a:gd name="connsiteY2" fmla="*/ 120575 h 141551"/>
                  <a:gd name="connsiteX3" fmla="*/ 0 w 114144"/>
                  <a:gd name="connsiteY3" fmla="*/ 141551 h 141551"/>
                </a:gdLst>
                <a:ahLst/>
                <a:cxnLst>
                  <a:cxn ang="0">
                    <a:pos x="connsiteX0" y="connsiteY0"/>
                  </a:cxn>
                  <a:cxn ang="0">
                    <a:pos x="connsiteX1" y="connsiteY1"/>
                  </a:cxn>
                  <a:cxn ang="0">
                    <a:pos x="connsiteX2" y="connsiteY2"/>
                  </a:cxn>
                  <a:cxn ang="0">
                    <a:pos x="connsiteX3" y="connsiteY3"/>
                  </a:cxn>
                </a:cxnLst>
                <a:rect l="l" t="t" r="r" b="b"/>
                <a:pathLst>
                  <a:path w="114144" h="141551">
                    <a:moveTo>
                      <a:pt x="114144" y="0"/>
                    </a:moveTo>
                    <a:lnTo>
                      <a:pt x="51369" y="44096"/>
                    </a:lnTo>
                    <a:lnTo>
                      <a:pt x="45091" y="120575"/>
                    </a:lnTo>
                    <a:lnTo>
                      <a:pt x="0" y="141551"/>
                    </a:lnTo>
                  </a:path>
                </a:pathLst>
              </a:custGeom>
              <a:noFill/>
              <a:ln w="12700" cap="rnd">
                <a:solidFill>
                  <a:schemeClr val="bg1"/>
                </a:solidFill>
                <a:prstDash val="solid"/>
                <a:round/>
              </a:ln>
            </p:spPr>
            <p:txBody>
              <a:bodyPr rtlCol="0" anchor="ctr"/>
              <a:lstStyle/>
              <a:p>
                <a:endParaRPr lang="pt-BR"/>
              </a:p>
            </p:txBody>
          </p:sp>
          <p:sp>
            <p:nvSpPr>
              <p:cNvPr id="825" name="Forma Livre: Forma 824">
                <a:extLst>
                  <a:ext uri="{FF2B5EF4-FFF2-40B4-BE49-F238E27FC236}">
                    <a16:creationId xmlns:a16="http://schemas.microsoft.com/office/drawing/2014/main" id="{13BC1B7A-44E2-4ECC-5F30-A85A704338D1}"/>
                  </a:ext>
                </a:extLst>
              </p:cNvPr>
              <p:cNvSpPr/>
              <p:nvPr/>
            </p:nvSpPr>
            <p:spPr>
              <a:xfrm>
                <a:off x="1392439" y="4100464"/>
                <a:ext cx="47234" cy="7655"/>
              </a:xfrm>
              <a:custGeom>
                <a:avLst/>
                <a:gdLst>
                  <a:gd name="connsiteX0" fmla="*/ 47235 w 47234"/>
                  <a:gd name="connsiteY0" fmla="*/ 0 h 7655"/>
                  <a:gd name="connsiteX1" fmla="*/ 0 w 47234"/>
                  <a:gd name="connsiteY1" fmla="*/ 7656 h 7655"/>
                </a:gdLst>
                <a:ahLst/>
                <a:cxnLst>
                  <a:cxn ang="0">
                    <a:pos x="connsiteX0" y="connsiteY0"/>
                  </a:cxn>
                  <a:cxn ang="0">
                    <a:pos x="connsiteX1" y="connsiteY1"/>
                  </a:cxn>
                </a:cxnLst>
                <a:rect l="l" t="t" r="r" b="b"/>
                <a:pathLst>
                  <a:path w="47234" h="7655">
                    <a:moveTo>
                      <a:pt x="47235" y="0"/>
                    </a:moveTo>
                    <a:lnTo>
                      <a:pt x="0" y="7656"/>
                    </a:lnTo>
                  </a:path>
                </a:pathLst>
              </a:custGeom>
              <a:ln w="12700" cap="rnd">
                <a:solidFill>
                  <a:schemeClr val="bg1"/>
                </a:solidFill>
                <a:prstDash val="solid"/>
                <a:round/>
              </a:ln>
            </p:spPr>
            <p:txBody>
              <a:bodyPr rtlCol="0" anchor="ctr"/>
              <a:lstStyle/>
              <a:p>
                <a:endParaRPr lang="pt-BR"/>
              </a:p>
            </p:txBody>
          </p:sp>
          <p:sp>
            <p:nvSpPr>
              <p:cNvPr id="826" name="Forma Livre: Forma 825">
                <a:extLst>
                  <a:ext uri="{FF2B5EF4-FFF2-40B4-BE49-F238E27FC236}">
                    <a16:creationId xmlns:a16="http://schemas.microsoft.com/office/drawing/2014/main" id="{2F3F3A70-B888-D2B1-03D3-64D3A811B007}"/>
                  </a:ext>
                </a:extLst>
              </p:cNvPr>
              <p:cNvSpPr/>
              <p:nvPr/>
            </p:nvSpPr>
            <p:spPr>
              <a:xfrm>
                <a:off x="1331118" y="4135374"/>
                <a:ext cx="33071" cy="37741"/>
              </a:xfrm>
              <a:custGeom>
                <a:avLst/>
                <a:gdLst>
                  <a:gd name="connsiteX0" fmla="*/ 33072 w 33071"/>
                  <a:gd name="connsiteY0" fmla="*/ 0 h 37741"/>
                  <a:gd name="connsiteX1" fmla="*/ 0 w 33071"/>
                  <a:gd name="connsiteY1" fmla="*/ 37742 h 37741"/>
                </a:gdLst>
                <a:ahLst/>
                <a:cxnLst>
                  <a:cxn ang="0">
                    <a:pos x="connsiteX0" y="connsiteY0"/>
                  </a:cxn>
                  <a:cxn ang="0">
                    <a:pos x="connsiteX1" y="connsiteY1"/>
                  </a:cxn>
                </a:cxnLst>
                <a:rect l="l" t="t" r="r" b="b"/>
                <a:pathLst>
                  <a:path w="33071" h="37741">
                    <a:moveTo>
                      <a:pt x="33072" y="0"/>
                    </a:moveTo>
                    <a:lnTo>
                      <a:pt x="0" y="37742"/>
                    </a:lnTo>
                  </a:path>
                </a:pathLst>
              </a:custGeom>
              <a:ln w="12700" cap="rnd">
                <a:solidFill>
                  <a:schemeClr val="bg1"/>
                </a:solidFill>
                <a:prstDash val="solid"/>
                <a:round/>
              </a:ln>
            </p:spPr>
            <p:txBody>
              <a:bodyPr rtlCol="0" anchor="ctr"/>
              <a:lstStyle/>
              <a:p>
                <a:endParaRPr lang="pt-BR"/>
              </a:p>
            </p:txBody>
          </p:sp>
          <p:sp>
            <p:nvSpPr>
              <p:cNvPr id="827" name="Forma Livre: Forma 826">
                <a:extLst>
                  <a:ext uri="{FF2B5EF4-FFF2-40B4-BE49-F238E27FC236}">
                    <a16:creationId xmlns:a16="http://schemas.microsoft.com/office/drawing/2014/main" id="{1EC0E25E-B033-AE06-EE3A-3FBA341A0B0D}"/>
                  </a:ext>
                </a:extLst>
              </p:cNvPr>
              <p:cNvSpPr/>
              <p:nvPr/>
            </p:nvSpPr>
            <p:spPr>
              <a:xfrm>
                <a:off x="1750566" y="3904941"/>
                <a:ext cx="7655" cy="44019"/>
              </a:xfrm>
              <a:custGeom>
                <a:avLst/>
                <a:gdLst>
                  <a:gd name="connsiteX0" fmla="*/ 0 w 7655"/>
                  <a:gd name="connsiteY0" fmla="*/ 0 h 44019"/>
                  <a:gd name="connsiteX1" fmla="*/ 0 w 7655"/>
                  <a:gd name="connsiteY1" fmla="*/ 44019 h 44019"/>
                </a:gdLst>
                <a:ahLst/>
                <a:cxnLst>
                  <a:cxn ang="0">
                    <a:pos x="connsiteX0" y="connsiteY0"/>
                  </a:cxn>
                  <a:cxn ang="0">
                    <a:pos x="connsiteX1" y="connsiteY1"/>
                  </a:cxn>
                </a:cxnLst>
                <a:rect l="l" t="t" r="r" b="b"/>
                <a:pathLst>
                  <a:path w="7655" h="44019">
                    <a:moveTo>
                      <a:pt x="0" y="0"/>
                    </a:moveTo>
                    <a:lnTo>
                      <a:pt x="0" y="44019"/>
                    </a:lnTo>
                  </a:path>
                </a:pathLst>
              </a:custGeom>
              <a:ln w="12700" cap="rnd">
                <a:solidFill>
                  <a:schemeClr val="bg1"/>
                </a:solidFill>
                <a:prstDash val="solid"/>
                <a:round/>
              </a:ln>
            </p:spPr>
            <p:txBody>
              <a:bodyPr rtlCol="0" anchor="ctr"/>
              <a:lstStyle/>
              <a:p>
                <a:endParaRPr lang="pt-BR"/>
              </a:p>
            </p:txBody>
          </p:sp>
          <p:sp>
            <p:nvSpPr>
              <p:cNvPr id="828" name="Forma Livre: Forma 827">
                <a:extLst>
                  <a:ext uri="{FF2B5EF4-FFF2-40B4-BE49-F238E27FC236}">
                    <a16:creationId xmlns:a16="http://schemas.microsoft.com/office/drawing/2014/main" id="{B6A916CF-7701-3758-76C9-9EA0DE1089E5}"/>
                  </a:ext>
                </a:extLst>
              </p:cNvPr>
              <p:cNvSpPr/>
              <p:nvPr/>
            </p:nvSpPr>
            <p:spPr>
              <a:xfrm>
                <a:off x="1728595" y="3926989"/>
                <a:ext cx="44019" cy="7655"/>
              </a:xfrm>
              <a:custGeom>
                <a:avLst/>
                <a:gdLst>
                  <a:gd name="connsiteX0" fmla="*/ 0 w 44019"/>
                  <a:gd name="connsiteY0" fmla="*/ 0 h 7655"/>
                  <a:gd name="connsiteX1" fmla="*/ 44019 w 44019"/>
                  <a:gd name="connsiteY1" fmla="*/ 0 h 7655"/>
                </a:gdLst>
                <a:ahLst/>
                <a:cxnLst>
                  <a:cxn ang="0">
                    <a:pos x="connsiteX0" y="connsiteY0"/>
                  </a:cxn>
                  <a:cxn ang="0">
                    <a:pos x="connsiteX1" y="connsiteY1"/>
                  </a:cxn>
                </a:cxnLst>
                <a:rect l="l" t="t" r="r" b="b"/>
                <a:pathLst>
                  <a:path w="44019" h="7655">
                    <a:moveTo>
                      <a:pt x="0" y="0"/>
                    </a:moveTo>
                    <a:lnTo>
                      <a:pt x="44019" y="0"/>
                    </a:lnTo>
                  </a:path>
                </a:pathLst>
              </a:custGeom>
              <a:ln w="12700" cap="rnd">
                <a:solidFill>
                  <a:schemeClr val="bg1"/>
                </a:solidFill>
                <a:prstDash val="solid"/>
                <a:round/>
              </a:ln>
            </p:spPr>
            <p:txBody>
              <a:bodyPr rtlCol="0" anchor="ctr"/>
              <a:lstStyle/>
              <a:p>
                <a:endParaRPr lang="pt-BR"/>
              </a:p>
            </p:txBody>
          </p:sp>
        </p:grpSp>
        <p:cxnSp>
          <p:nvCxnSpPr>
            <p:cNvPr id="812" name="Conector reto 811">
              <a:extLst>
                <a:ext uri="{FF2B5EF4-FFF2-40B4-BE49-F238E27FC236}">
                  <a16:creationId xmlns:a16="http://schemas.microsoft.com/office/drawing/2014/main" id="{54670813-83DB-C847-2368-90531F343E13}"/>
                </a:ext>
              </a:extLst>
            </p:cNvPr>
            <p:cNvCxnSpPr>
              <a:cxnSpLocks/>
            </p:cNvCxnSpPr>
            <p:nvPr/>
          </p:nvCxnSpPr>
          <p:spPr>
            <a:xfrm>
              <a:off x="1278862" y="4436688"/>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sp>
        <p:nvSpPr>
          <p:cNvPr id="863" name="CaixaDeTexto 862">
            <a:extLst>
              <a:ext uri="{FF2B5EF4-FFF2-40B4-BE49-F238E27FC236}">
                <a16:creationId xmlns:a16="http://schemas.microsoft.com/office/drawing/2014/main" id="{91761C5A-745D-E17C-857E-A4F8818DA4BE}"/>
              </a:ext>
            </a:extLst>
          </p:cNvPr>
          <p:cNvSpPr txBox="1"/>
          <p:nvPr/>
        </p:nvSpPr>
        <p:spPr>
          <a:xfrm>
            <a:off x="9661656" y="2535020"/>
            <a:ext cx="1120491" cy="400110"/>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b="1" dirty="0"/>
              <a:t>Brasil</a:t>
            </a:r>
          </a:p>
        </p:txBody>
      </p:sp>
      <p:pic>
        <p:nvPicPr>
          <p:cNvPr id="1022" name="Graphic 4">
            <a:extLst>
              <a:ext uri="{FF2B5EF4-FFF2-40B4-BE49-F238E27FC236}">
                <a16:creationId xmlns:a16="http://schemas.microsoft.com/office/drawing/2014/main" id="{A0CBFEBD-B8DA-FC1A-5BBF-2BE8593AE01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750718" y="0"/>
            <a:ext cx="2124000" cy="387563"/>
          </a:xfrm>
          <a:prstGeom prst="rect">
            <a:avLst/>
          </a:prstGeom>
        </p:spPr>
      </p:pic>
      <p:sp>
        <p:nvSpPr>
          <p:cNvPr id="580" name="Forma Livre: Forma 579">
            <a:extLst>
              <a:ext uri="{FF2B5EF4-FFF2-40B4-BE49-F238E27FC236}">
                <a16:creationId xmlns:a16="http://schemas.microsoft.com/office/drawing/2014/main" id="{6C979BAF-6D95-DC32-F406-C12040E750AC}"/>
              </a:ext>
            </a:extLst>
          </p:cNvPr>
          <p:cNvSpPr/>
          <p:nvPr/>
        </p:nvSpPr>
        <p:spPr>
          <a:xfrm>
            <a:off x="6106522" y="2912308"/>
            <a:ext cx="2618030" cy="3846344"/>
          </a:xfrm>
          <a:custGeom>
            <a:avLst/>
            <a:gdLst>
              <a:gd name="connsiteX0" fmla="*/ 395371 w 427194"/>
              <a:gd name="connsiteY0" fmla="*/ 595500 h 627623"/>
              <a:gd name="connsiteX1" fmla="*/ 396479 w 427194"/>
              <a:gd name="connsiteY1" fmla="*/ 594393 h 627623"/>
              <a:gd name="connsiteX2" fmla="*/ 399341 w 427194"/>
              <a:gd name="connsiteY2" fmla="*/ 580639 h 627623"/>
              <a:gd name="connsiteX3" fmla="*/ 417248 w 427194"/>
              <a:gd name="connsiteY3" fmla="*/ 553870 h 627623"/>
              <a:gd name="connsiteX4" fmla="*/ 404325 w 427194"/>
              <a:gd name="connsiteY4" fmla="*/ 537993 h 627623"/>
              <a:gd name="connsiteX5" fmla="*/ 412264 w 427194"/>
              <a:gd name="connsiteY5" fmla="*/ 509193 h 627623"/>
              <a:gd name="connsiteX6" fmla="*/ 420202 w 427194"/>
              <a:gd name="connsiteY6" fmla="*/ 481408 h 627623"/>
              <a:gd name="connsiteX7" fmla="*/ 417248 w 427194"/>
              <a:gd name="connsiteY7" fmla="*/ 433777 h 627623"/>
              <a:gd name="connsiteX8" fmla="*/ 426202 w 427194"/>
              <a:gd name="connsiteY8" fmla="*/ 415870 h 627623"/>
              <a:gd name="connsiteX9" fmla="*/ 403033 w 427194"/>
              <a:gd name="connsiteY9" fmla="*/ 368608 h 627623"/>
              <a:gd name="connsiteX10" fmla="*/ 370541 w 427194"/>
              <a:gd name="connsiteY10" fmla="*/ 370178 h 627623"/>
              <a:gd name="connsiteX11" fmla="*/ 362602 w 427194"/>
              <a:gd name="connsiteY11" fmla="*/ 326516 h 627623"/>
              <a:gd name="connsiteX12" fmla="*/ 347741 w 427194"/>
              <a:gd name="connsiteY12" fmla="*/ 329470 h 627623"/>
              <a:gd name="connsiteX13" fmla="*/ 312018 w 427194"/>
              <a:gd name="connsiteY13" fmla="*/ 334454 h 627623"/>
              <a:gd name="connsiteX14" fmla="*/ 294110 w 427194"/>
              <a:gd name="connsiteY14" fmla="*/ 315624 h 627623"/>
              <a:gd name="connsiteX15" fmla="*/ 277217 w 427194"/>
              <a:gd name="connsiteY15" fmla="*/ 302701 h 627623"/>
              <a:gd name="connsiteX16" fmla="*/ 263279 w 427194"/>
              <a:gd name="connsiteY16" fmla="*/ 273901 h 627623"/>
              <a:gd name="connsiteX17" fmla="*/ 254325 w 427194"/>
              <a:gd name="connsiteY17" fmla="*/ 245101 h 627623"/>
              <a:gd name="connsiteX18" fmla="*/ 259310 w 427194"/>
              <a:gd name="connsiteY18" fmla="*/ 223224 h 627623"/>
              <a:gd name="connsiteX19" fmla="*/ 274171 w 427194"/>
              <a:gd name="connsiteY19" fmla="*/ 205316 h 627623"/>
              <a:gd name="connsiteX20" fmla="*/ 285064 w 427194"/>
              <a:gd name="connsiteY20" fmla="*/ 173562 h 627623"/>
              <a:gd name="connsiteX21" fmla="*/ 314879 w 427194"/>
              <a:gd name="connsiteY21" fmla="*/ 153716 h 627623"/>
              <a:gd name="connsiteX22" fmla="*/ 355587 w 427194"/>
              <a:gd name="connsiteY22" fmla="*/ 138855 h 627623"/>
              <a:gd name="connsiteX23" fmla="*/ 382725 w 427194"/>
              <a:gd name="connsiteY23" fmla="*/ 137008 h 627623"/>
              <a:gd name="connsiteX24" fmla="*/ 362787 w 427194"/>
              <a:gd name="connsiteY24" fmla="*/ 121039 h 627623"/>
              <a:gd name="connsiteX25" fmla="*/ 380325 w 427194"/>
              <a:gd name="connsiteY25" fmla="*/ 92978 h 627623"/>
              <a:gd name="connsiteX26" fmla="*/ 355771 w 427194"/>
              <a:gd name="connsiteY26" fmla="*/ 73131 h 627623"/>
              <a:gd name="connsiteX27" fmla="*/ 333525 w 427194"/>
              <a:gd name="connsiteY27" fmla="*/ 74331 h 627623"/>
              <a:gd name="connsiteX28" fmla="*/ 313679 w 427194"/>
              <a:gd name="connsiteY28" fmla="*/ 76639 h 627623"/>
              <a:gd name="connsiteX29" fmla="*/ 275095 w 427194"/>
              <a:gd name="connsiteY29" fmla="*/ 71932 h 627623"/>
              <a:gd name="connsiteX30" fmla="*/ 262264 w 427194"/>
              <a:gd name="connsiteY30" fmla="*/ 50885 h 627623"/>
              <a:gd name="connsiteX31" fmla="*/ 241218 w 427194"/>
              <a:gd name="connsiteY31" fmla="*/ 29839 h 627623"/>
              <a:gd name="connsiteX32" fmla="*/ 221371 w 427194"/>
              <a:gd name="connsiteY32" fmla="*/ 1778 h 627623"/>
              <a:gd name="connsiteX33" fmla="*/ 192479 w 427194"/>
              <a:gd name="connsiteY33" fmla="*/ 2701 h 627623"/>
              <a:gd name="connsiteX34" fmla="*/ 200233 w 427194"/>
              <a:gd name="connsiteY34" fmla="*/ 26608 h 627623"/>
              <a:gd name="connsiteX35" fmla="*/ 181587 w 427194"/>
              <a:gd name="connsiteY35" fmla="*/ 60762 h 627623"/>
              <a:gd name="connsiteX36" fmla="*/ 115587 w 427194"/>
              <a:gd name="connsiteY36" fmla="*/ 96485 h 627623"/>
              <a:gd name="connsiteX37" fmla="*/ 85310 w 427194"/>
              <a:gd name="connsiteY37" fmla="*/ 150024 h 627623"/>
              <a:gd name="connsiteX38" fmla="*/ 61218 w 427194"/>
              <a:gd name="connsiteY38" fmla="*/ 151593 h 627623"/>
              <a:gd name="connsiteX39" fmla="*/ 35556 w 427194"/>
              <a:gd name="connsiteY39" fmla="*/ 144578 h 627623"/>
              <a:gd name="connsiteX40" fmla="*/ 35556 w 427194"/>
              <a:gd name="connsiteY40" fmla="*/ 127501 h 627623"/>
              <a:gd name="connsiteX41" fmla="*/ 29095 w 427194"/>
              <a:gd name="connsiteY41" fmla="*/ 110239 h 627623"/>
              <a:gd name="connsiteX42" fmla="*/ 1310 w 427194"/>
              <a:gd name="connsiteY42" fmla="*/ 139593 h 627623"/>
              <a:gd name="connsiteX43" fmla="*/ 13956 w 427194"/>
              <a:gd name="connsiteY43" fmla="*/ 185747 h 627623"/>
              <a:gd name="connsiteX44" fmla="*/ 3525 w 427194"/>
              <a:gd name="connsiteY44" fmla="*/ 194701 h 627623"/>
              <a:gd name="connsiteX45" fmla="*/ 39987 w 427194"/>
              <a:gd name="connsiteY45" fmla="*/ 223778 h 627623"/>
              <a:gd name="connsiteX46" fmla="*/ 73495 w 427194"/>
              <a:gd name="connsiteY46" fmla="*/ 269931 h 627623"/>
              <a:gd name="connsiteX47" fmla="*/ 97310 w 427194"/>
              <a:gd name="connsiteY47" fmla="*/ 321254 h 627623"/>
              <a:gd name="connsiteX48" fmla="*/ 149464 w 427194"/>
              <a:gd name="connsiteY48" fmla="*/ 420301 h 627623"/>
              <a:gd name="connsiteX49" fmla="*/ 169587 w 427194"/>
              <a:gd name="connsiteY49" fmla="*/ 463501 h 627623"/>
              <a:gd name="connsiteX50" fmla="*/ 182233 w 427194"/>
              <a:gd name="connsiteY50" fmla="*/ 494054 h 627623"/>
              <a:gd name="connsiteX51" fmla="*/ 235125 w 427194"/>
              <a:gd name="connsiteY51" fmla="*/ 531254 h 627623"/>
              <a:gd name="connsiteX52" fmla="*/ 331864 w 427194"/>
              <a:gd name="connsiteY52" fmla="*/ 590793 h 627623"/>
              <a:gd name="connsiteX53" fmla="*/ 372018 w 427194"/>
              <a:gd name="connsiteY53" fmla="*/ 621347 h 627623"/>
              <a:gd name="connsiteX54" fmla="*/ 373956 w 427194"/>
              <a:gd name="connsiteY54" fmla="*/ 627624 h 627623"/>
              <a:gd name="connsiteX55" fmla="*/ 381248 w 427194"/>
              <a:gd name="connsiteY55" fmla="*/ 622362 h 627623"/>
              <a:gd name="connsiteX56" fmla="*/ 395094 w 427194"/>
              <a:gd name="connsiteY56" fmla="*/ 595593 h 62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27194" h="627623">
                <a:moveTo>
                  <a:pt x="395371" y="595500"/>
                </a:moveTo>
                <a:cubicBezTo>
                  <a:pt x="395833" y="594854"/>
                  <a:pt x="396202" y="594485"/>
                  <a:pt x="396479" y="594393"/>
                </a:cubicBezTo>
                <a:cubicBezTo>
                  <a:pt x="395556" y="588300"/>
                  <a:pt x="395648" y="582670"/>
                  <a:pt x="399341" y="580639"/>
                </a:cubicBezTo>
                <a:cubicBezTo>
                  <a:pt x="406264" y="576670"/>
                  <a:pt x="417248" y="560793"/>
                  <a:pt x="417248" y="553870"/>
                </a:cubicBezTo>
                <a:cubicBezTo>
                  <a:pt x="417248" y="546947"/>
                  <a:pt x="404325" y="546947"/>
                  <a:pt x="404325" y="537993"/>
                </a:cubicBezTo>
                <a:cubicBezTo>
                  <a:pt x="404325" y="529039"/>
                  <a:pt x="418171" y="514177"/>
                  <a:pt x="412264" y="509193"/>
                </a:cubicBezTo>
                <a:cubicBezTo>
                  <a:pt x="406264" y="504208"/>
                  <a:pt x="421217" y="489347"/>
                  <a:pt x="420202" y="481408"/>
                </a:cubicBezTo>
                <a:cubicBezTo>
                  <a:pt x="419187" y="473470"/>
                  <a:pt x="413279" y="437747"/>
                  <a:pt x="417248" y="433777"/>
                </a:cubicBezTo>
                <a:cubicBezTo>
                  <a:pt x="421217" y="429808"/>
                  <a:pt x="430171" y="426854"/>
                  <a:pt x="426202" y="415870"/>
                </a:cubicBezTo>
                <a:cubicBezTo>
                  <a:pt x="423064" y="407193"/>
                  <a:pt x="408941" y="383285"/>
                  <a:pt x="403033" y="368608"/>
                </a:cubicBezTo>
                <a:cubicBezTo>
                  <a:pt x="391956" y="367039"/>
                  <a:pt x="378479" y="367316"/>
                  <a:pt x="370541" y="370178"/>
                </a:cubicBezTo>
                <a:cubicBezTo>
                  <a:pt x="359648" y="374147"/>
                  <a:pt x="362602" y="339439"/>
                  <a:pt x="362602" y="326516"/>
                </a:cubicBezTo>
                <a:cubicBezTo>
                  <a:pt x="362602" y="313593"/>
                  <a:pt x="351710" y="320516"/>
                  <a:pt x="347741" y="329470"/>
                </a:cubicBezTo>
                <a:cubicBezTo>
                  <a:pt x="343771" y="338424"/>
                  <a:pt x="327895" y="334454"/>
                  <a:pt x="312018" y="334454"/>
                </a:cubicBezTo>
                <a:cubicBezTo>
                  <a:pt x="296141" y="334454"/>
                  <a:pt x="304079" y="314608"/>
                  <a:pt x="294110" y="315624"/>
                </a:cubicBezTo>
                <a:cubicBezTo>
                  <a:pt x="284141" y="316639"/>
                  <a:pt x="276202" y="312670"/>
                  <a:pt x="277217" y="302701"/>
                </a:cubicBezTo>
                <a:cubicBezTo>
                  <a:pt x="278233" y="292731"/>
                  <a:pt x="270202" y="284885"/>
                  <a:pt x="263279" y="273901"/>
                </a:cubicBezTo>
                <a:cubicBezTo>
                  <a:pt x="256356" y="263008"/>
                  <a:pt x="248417" y="252116"/>
                  <a:pt x="254325" y="245101"/>
                </a:cubicBezTo>
                <a:cubicBezTo>
                  <a:pt x="260325" y="238178"/>
                  <a:pt x="250356" y="232178"/>
                  <a:pt x="259310" y="223224"/>
                </a:cubicBezTo>
                <a:cubicBezTo>
                  <a:pt x="268264" y="214270"/>
                  <a:pt x="277217" y="217316"/>
                  <a:pt x="274171" y="205316"/>
                </a:cubicBezTo>
                <a:cubicBezTo>
                  <a:pt x="271217" y="193408"/>
                  <a:pt x="284048" y="186485"/>
                  <a:pt x="285064" y="173562"/>
                </a:cubicBezTo>
                <a:cubicBezTo>
                  <a:pt x="286079" y="160639"/>
                  <a:pt x="300941" y="164608"/>
                  <a:pt x="314879" y="153716"/>
                </a:cubicBezTo>
                <a:cubicBezTo>
                  <a:pt x="328725" y="142731"/>
                  <a:pt x="343679" y="148731"/>
                  <a:pt x="355587" y="138855"/>
                </a:cubicBezTo>
                <a:cubicBezTo>
                  <a:pt x="366756" y="129531"/>
                  <a:pt x="374417" y="137562"/>
                  <a:pt x="382725" y="137008"/>
                </a:cubicBezTo>
                <a:cubicBezTo>
                  <a:pt x="377741" y="130085"/>
                  <a:pt x="365556" y="126578"/>
                  <a:pt x="362787" y="121039"/>
                </a:cubicBezTo>
                <a:cubicBezTo>
                  <a:pt x="359279" y="114024"/>
                  <a:pt x="375617" y="101193"/>
                  <a:pt x="380325" y="92978"/>
                </a:cubicBezTo>
                <a:cubicBezTo>
                  <a:pt x="385033" y="84855"/>
                  <a:pt x="361679" y="75439"/>
                  <a:pt x="355771" y="73131"/>
                </a:cubicBezTo>
                <a:cubicBezTo>
                  <a:pt x="349956" y="70824"/>
                  <a:pt x="339433" y="77839"/>
                  <a:pt x="333525" y="74331"/>
                </a:cubicBezTo>
                <a:cubicBezTo>
                  <a:pt x="327710" y="70824"/>
                  <a:pt x="318294" y="73131"/>
                  <a:pt x="313679" y="76639"/>
                </a:cubicBezTo>
                <a:cubicBezTo>
                  <a:pt x="308971" y="80147"/>
                  <a:pt x="273987" y="82455"/>
                  <a:pt x="275095" y="71932"/>
                </a:cubicBezTo>
                <a:cubicBezTo>
                  <a:pt x="276202" y="61408"/>
                  <a:pt x="261064" y="57901"/>
                  <a:pt x="262264" y="50885"/>
                </a:cubicBezTo>
                <a:cubicBezTo>
                  <a:pt x="263464" y="43870"/>
                  <a:pt x="254048" y="31039"/>
                  <a:pt x="241218" y="29839"/>
                </a:cubicBezTo>
                <a:cubicBezTo>
                  <a:pt x="228387" y="28639"/>
                  <a:pt x="230695" y="7685"/>
                  <a:pt x="221371" y="1778"/>
                </a:cubicBezTo>
                <a:cubicBezTo>
                  <a:pt x="216018" y="-1546"/>
                  <a:pt x="202910" y="393"/>
                  <a:pt x="192479" y="2701"/>
                </a:cubicBezTo>
                <a:cubicBezTo>
                  <a:pt x="203648" y="15347"/>
                  <a:pt x="207710" y="20608"/>
                  <a:pt x="200233" y="26608"/>
                </a:cubicBezTo>
                <a:cubicBezTo>
                  <a:pt x="190356" y="34454"/>
                  <a:pt x="200233" y="35931"/>
                  <a:pt x="181587" y="60762"/>
                </a:cubicBezTo>
                <a:cubicBezTo>
                  <a:pt x="162941" y="85593"/>
                  <a:pt x="131187" y="91778"/>
                  <a:pt x="115587" y="96485"/>
                </a:cubicBezTo>
                <a:cubicBezTo>
                  <a:pt x="100079" y="101101"/>
                  <a:pt x="93895" y="129808"/>
                  <a:pt x="85310" y="150024"/>
                </a:cubicBezTo>
                <a:cubicBezTo>
                  <a:pt x="76818" y="170147"/>
                  <a:pt x="69802" y="163224"/>
                  <a:pt x="61218" y="151593"/>
                </a:cubicBezTo>
                <a:cubicBezTo>
                  <a:pt x="52725" y="139962"/>
                  <a:pt x="45710" y="153901"/>
                  <a:pt x="35556" y="144578"/>
                </a:cubicBezTo>
                <a:cubicBezTo>
                  <a:pt x="25495" y="135255"/>
                  <a:pt x="30110" y="135255"/>
                  <a:pt x="35556" y="127501"/>
                </a:cubicBezTo>
                <a:cubicBezTo>
                  <a:pt x="38510" y="123347"/>
                  <a:pt x="35279" y="116701"/>
                  <a:pt x="29095" y="110239"/>
                </a:cubicBezTo>
                <a:cubicBezTo>
                  <a:pt x="18018" y="112547"/>
                  <a:pt x="6849" y="127870"/>
                  <a:pt x="1310" y="139593"/>
                </a:cubicBezTo>
                <a:cubicBezTo>
                  <a:pt x="-4690" y="152239"/>
                  <a:pt x="11741" y="176793"/>
                  <a:pt x="13956" y="185747"/>
                </a:cubicBezTo>
                <a:cubicBezTo>
                  <a:pt x="16171" y="194701"/>
                  <a:pt x="5002" y="186485"/>
                  <a:pt x="3525" y="194701"/>
                </a:cubicBezTo>
                <a:cubicBezTo>
                  <a:pt x="2048" y="202916"/>
                  <a:pt x="28079" y="214824"/>
                  <a:pt x="39987" y="223778"/>
                </a:cubicBezTo>
                <a:cubicBezTo>
                  <a:pt x="51895" y="232731"/>
                  <a:pt x="62325" y="258024"/>
                  <a:pt x="73495" y="269931"/>
                </a:cubicBezTo>
                <a:cubicBezTo>
                  <a:pt x="84664" y="281839"/>
                  <a:pt x="85402" y="292270"/>
                  <a:pt x="97310" y="321254"/>
                </a:cubicBezTo>
                <a:cubicBezTo>
                  <a:pt x="109218" y="350239"/>
                  <a:pt x="133033" y="399439"/>
                  <a:pt x="149464" y="420301"/>
                </a:cubicBezTo>
                <a:cubicBezTo>
                  <a:pt x="165802" y="441162"/>
                  <a:pt x="173279" y="457501"/>
                  <a:pt x="169587" y="463501"/>
                </a:cubicBezTo>
                <a:cubicBezTo>
                  <a:pt x="165894" y="469408"/>
                  <a:pt x="170325" y="485839"/>
                  <a:pt x="182233" y="494054"/>
                </a:cubicBezTo>
                <a:cubicBezTo>
                  <a:pt x="194141" y="502177"/>
                  <a:pt x="203833" y="515654"/>
                  <a:pt x="235125" y="531254"/>
                </a:cubicBezTo>
                <a:cubicBezTo>
                  <a:pt x="266418" y="546854"/>
                  <a:pt x="323741" y="576670"/>
                  <a:pt x="331864" y="590793"/>
                </a:cubicBezTo>
                <a:cubicBezTo>
                  <a:pt x="340079" y="604916"/>
                  <a:pt x="366848" y="618300"/>
                  <a:pt x="372018" y="621347"/>
                </a:cubicBezTo>
                <a:cubicBezTo>
                  <a:pt x="373402" y="622177"/>
                  <a:pt x="373864" y="624485"/>
                  <a:pt x="373956" y="627624"/>
                </a:cubicBezTo>
                <a:cubicBezTo>
                  <a:pt x="377002" y="625039"/>
                  <a:pt x="379587" y="623101"/>
                  <a:pt x="381248" y="622362"/>
                </a:cubicBezTo>
                <a:cubicBezTo>
                  <a:pt x="391125" y="617378"/>
                  <a:pt x="392141" y="600578"/>
                  <a:pt x="395094" y="595593"/>
                </a:cubicBezTo>
                <a:close/>
              </a:path>
            </a:pathLst>
          </a:custGeom>
          <a:solidFill>
            <a:srgbClr val="FF5000"/>
          </a:solidFill>
          <a:ln w="12700" cap="flat">
            <a:solidFill>
              <a:schemeClr val="bg1"/>
            </a:solidFill>
            <a:prstDash val="solid"/>
            <a:miter/>
          </a:ln>
        </p:spPr>
        <p:txBody>
          <a:bodyPr rtlCol="0" anchor="ctr"/>
          <a:lstStyle/>
          <a:p>
            <a:endParaRPr lang="pt-BR" dirty="0"/>
          </a:p>
        </p:txBody>
      </p:sp>
      <p:sp>
        <p:nvSpPr>
          <p:cNvPr id="864" name="CaixaDeTexto 863">
            <a:extLst>
              <a:ext uri="{FF2B5EF4-FFF2-40B4-BE49-F238E27FC236}">
                <a16:creationId xmlns:a16="http://schemas.microsoft.com/office/drawing/2014/main" id="{55B9802A-A623-E140-3F0E-47F616D97A15}"/>
              </a:ext>
            </a:extLst>
          </p:cNvPr>
          <p:cNvSpPr txBox="1"/>
          <p:nvPr/>
        </p:nvSpPr>
        <p:spPr>
          <a:xfrm>
            <a:off x="5681446" y="2551928"/>
            <a:ext cx="1120491" cy="400110"/>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b="1" dirty="0" err="1"/>
              <a:t>Perú</a:t>
            </a:r>
            <a:endParaRPr lang="pt-BR" b="1" dirty="0"/>
          </a:p>
        </p:txBody>
      </p:sp>
      <p:grpSp>
        <p:nvGrpSpPr>
          <p:cNvPr id="20" name="Grupo 19">
            <a:extLst>
              <a:ext uri="{FF2B5EF4-FFF2-40B4-BE49-F238E27FC236}">
                <a16:creationId xmlns:a16="http://schemas.microsoft.com/office/drawing/2014/main" id="{9AF76BB3-50C9-A901-D6C0-508B6A4F8153}"/>
              </a:ext>
            </a:extLst>
          </p:cNvPr>
          <p:cNvGrpSpPr/>
          <p:nvPr/>
        </p:nvGrpSpPr>
        <p:grpSpPr>
          <a:xfrm>
            <a:off x="4785517" y="4659853"/>
            <a:ext cx="5153002" cy="1091523"/>
            <a:chOff x="4668103" y="4531292"/>
            <a:chExt cx="5153002" cy="1091523"/>
          </a:xfrm>
        </p:grpSpPr>
        <p:grpSp>
          <p:nvGrpSpPr>
            <p:cNvPr id="865" name="Agrupar 864">
              <a:extLst>
                <a:ext uri="{FF2B5EF4-FFF2-40B4-BE49-F238E27FC236}">
                  <a16:creationId xmlns:a16="http://schemas.microsoft.com/office/drawing/2014/main" id="{79031DC7-489C-029E-6DE5-48A02A902B7A}"/>
                </a:ext>
              </a:extLst>
            </p:cNvPr>
            <p:cNvGrpSpPr/>
            <p:nvPr/>
          </p:nvGrpSpPr>
          <p:grpSpPr>
            <a:xfrm>
              <a:off x="7066760" y="4726426"/>
              <a:ext cx="271136" cy="287825"/>
              <a:chOff x="1254810" y="3958423"/>
              <a:chExt cx="450535" cy="478265"/>
            </a:xfrm>
          </p:grpSpPr>
          <p:grpSp>
            <p:nvGrpSpPr>
              <p:cNvPr id="866" name="Agrupar 865">
                <a:extLst>
                  <a:ext uri="{FF2B5EF4-FFF2-40B4-BE49-F238E27FC236}">
                    <a16:creationId xmlns:a16="http://schemas.microsoft.com/office/drawing/2014/main" id="{4B67ECAC-57F4-1300-2B9C-429102910846}"/>
                  </a:ext>
                </a:extLst>
              </p:cNvPr>
              <p:cNvGrpSpPr/>
              <p:nvPr/>
            </p:nvGrpSpPr>
            <p:grpSpPr>
              <a:xfrm>
                <a:off x="1254810" y="3958423"/>
                <a:ext cx="450535" cy="473984"/>
                <a:chOff x="1226926" y="3792328"/>
                <a:chExt cx="545688" cy="574090"/>
              </a:xfrm>
            </p:grpSpPr>
            <p:sp>
              <p:nvSpPr>
                <p:cNvPr id="868" name="Forma Livre: Forma 867">
                  <a:extLst>
                    <a:ext uri="{FF2B5EF4-FFF2-40B4-BE49-F238E27FC236}">
                      <a16:creationId xmlns:a16="http://schemas.microsoft.com/office/drawing/2014/main" id="{190C3D64-2F6F-C676-5811-5D0709A0C1D1}"/>
                    </a:ext>
                  </a:extLst>
                </p:cNvPr>
                <p:cNvSpPr/>
                <p:nvPr/>
              </p:nvSpPr>
              <p:spPr>
                <a:xfrm>
                  <a:off x="1226926" y="3896444"/>
                  <a:ext cx="413399" cy="469974"/>
                </a:xfrm>
                <a:custGeom>
                  <a:avLst/>
                  <a:gdLst>
                    <a:gd name="connsiteX0" fmla="*/ 275523 w 413399"/>
                    <a:gd name="connsiteY0" fmla="*/ 159925 h 469974"/>
                    <a:gd name="connsiteX1" fmla="*/ 211370 w 413399"/>
                    <a:gd name="connsiteY1" fmla="*/ 53436 h 469974"/>
                    <a:gd name="connsiteX2" fmla="*/ 91943 w 413399"/>
                    <a:gd name="connsiteY2" fmla="*/ 0 h 469974"/>
                    <a:gd name="connsiteX3" fmla="*/ 0 w 413399"/>
                    <a:gd name="connsiteY3" fmla="*/ 163523 h 469974"/>
                    <a:gd name="connsiteX4" fmla="*/ 109015 w 413399"/>
                    <a:gd name="connsiteY4" fmla="*/ 414625 h 469974"/>
                    <a:gd name="connsiteX5" fmla="*/ 230815 w 413399"/>
                    <a:gd name="connsiteY5" fmla="*/ 469975 h 469974"/>
                    <a:gd name="connsiteX6" fmla="*/ 400921 w 413399"/>
                    <a:gd name="connsiteY6" fmla="*/ 469975 h 469974"/>
                    <a:gd name="connsiteX7" fmla="*/ 413400 w 413399"/>
                    <a:gd name="connsiteY7" fmla="*/ 429247 h 469974"/>
                    <a:gd name="connsiteX8" fmla="*/ 383314 w 413399"/>
                    <a:gd name="connsiteY8" fmla="*/ 339065 h 469974"/>
                    <a:gd name="connsiteX9" fmla="*/ 383620 w 413399"/>
                    <a:gd name="connsiteY9" fmla="*/ 268557 h 469974"/>
                    <a:gd name="connsiteX10" fmla="*/ 334088 w 413399"/>
                    <a:gd name="connsiteY10" fmla="*/ 266337 h 469974"/>
                    <a:gd name="connsiteX11" fmla="*/ 318318 w 413399"/>
                    <a:gd name="connsiteY11" fmla="*/ 197743 h 469974"/>
                    <a:gd name="connsiteX12" fmla="*/ 275523 w 413399"/>
                    <a:gd name="connsiteY12" fmla="*/ 159925 h 46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399" h="469974">
                      <a:moveTo>
                        <a:pt x="275523" y="159925"/>
                      </a:moveTo>
                      <a:lnTo>
                        <a:pt x="211370" y="53436"/>
                      </a:lnTo>
                      <a:lnTo>
                        <a:pt x="91943" y="0"/>
                      </a:lnTo>
                      <a:lnTo>
                        <a:pt x="0" y="163523"/>
                      </a:lnTo>
                      <a:lnTo>
                        <a:pt x="109015" y="414625"/>
                      </a:lnTo>
                      <a:lnTo>
                        <a:pt x="230815" y="469975"/>
                      </a:lnTo>
                      <a:lnTo>
                        <a:pt x="400921" y="469975"/>
                      </a:lnTo>
                      <a:lnTo>
                        <a:pt x="413400" y="429247"/>
                      </a:lnTo>
                      <a:lnTo>
                        <a:pt x="383314" y="339065"/>
                      </a:lnTo>
                      <a:lnTo>
                        <a:pt x="383620" y="268557"/>
                      </a:lnTo>
                      <a:lnTo>
                        <a:pt x="334088" y="266337"/>
                      </a:lnTo>
                      <a:lnTo>
                        <a:pt x="318318" y="197743"/>
                      </a:lnTo>
                      <a:lnTo>
                        <a:pt x="275523" y="159925"/>
                      </a:lnTo>
                      <a:close/>
                    </a:path>
                  </a:pathLst>
                </a:custGeom>
                <a:noFill/>
                <a:ln w="12700" cap="rnd">
                  <a:solidFill>
                    <a:schemeClr val="bg1"/>
                  </a:solidFill>
                  <a:prstDash val="solid"/>
                  <a:round/>
                </a:ln>
              </p:spPr>
              <p:txBody>
                <a:bodyPr rtlCol="0" anchor="ctr"/>
                <a:lstStyle/>
                <a:p>
                  <a:endParaRPr lang="pt-BR" dirty="0"/>
                </a:p>
              </p:txBody>
            </p:sp>
            <p:sp>
              <p:nvSpPr>
                <p:cNvPr id="869" name="Forma Livre: Forma 868">
                  <a:extLst>
                    <a:ext uri="{FF2B5EF4-FFF2-40B4-BE49-F238E27FC236}">
                      <a16:creationId xmlns:a16="http://schemas.microsoft.com/office/drawing/2014/main" id="{0D727BF0-7CD3-0DCF-0E94-EDADB963E79C}"/>
                    </a:ext>
                  </a:extLst>
                </p:cNvPr>
                <p:cNvSpPr/>
                <p:nvPr/>
              </p:nvSpPr>
              <p:spPr>
                <a:xfrm>
                  <a:off x="1629609" y="4162780"/>
                  <a:ext cx="44708" cy="125780"/>
                </a:xfrm>
                <a:custGeom>
                  <a:avLst/>
                  <a:gdLst>
                    <a:gd name="connsiteX0" fmla="*/ 44708 w 44708"/>
                    <a:gd name="connsiteY0" fmla="*/ 0 h 125780"/>
                    <a:gd name="connsiteX1" fmla="*/ 0 w 44708"/>
                    <a:gd name="connsiteY1" fmla="*/ 125781 h 125780"/>
                  </a:gdLst>
                  <a:ahLst/>
                  <a:cxnLst>
                    <a:cxn ang="0">
                      <a:pos x="connsiteX0" y="connsiteY0"/>
                    </a:cxn>
                    <a:cxn ang="0">
                      <a:pos x="connsiteX1" y="connsiteY1"/>
                    </a:cxn>
                  </a:cxnLst>
                  <a:rect l="l" t="t" r="r" b="b"/>
                  <a:pathLst>
                    <a:path w="44708" h="125780">
                      <a:moveTo>
                        <a:pt x="44708" y="0"/>
                      </a:moveTo>
                      <a:lnTo>
                        <a:pt x="0" y="125781"/>
                      </a:lnTo>
                    </a:path>
                  </a:pathLst>
                </a:custGeom>
                <a:ln w="12700" cap="rnd">
                  <a:solidFill>
                    <a:schemeClr val="bg1"/>
                  </a:solidFill>
                  <a:prstDash val="solid"/>
                  <a:round/>
                </a:ln>
              </p:spPr>
              <p:txBody>
                <a:bodyPr rtlCol="0" anchor="ctr"/>
                <a:lstStyle/>
                <a:p>
                  <a:endParaRPr lang="pt-BR"/>
                </a:p>
              </p:txBody>
            </p:sp>
            <p:sp>
              <p:nvSpPr>
                <p:cNvPr id="870" name="Forma Livre: Forma 869">
                  <a:extLst>
                    <a:ext uri="{FF2B5EF4-FFF2-40B4-BE49-F238E27FC236}">
                      <a16:creationId xmlns:a16="http://schemas.microsoft.com/office/drawing/2014/main" id="{D7D161E6-82FA-BB99-EF84-4274A3A2C85D}"/>
                    </a:ext>
                  </a:extLst>
                </p:cNvPr>
                <p:cNvSpPr/>
                <p:nvPr/>
              </p:nvSpPr>
              <p:spPr>
                <a:xfrm>
                  <a:off x="1457741" y="3883751"/>
                  <a:ext cx="270803" cy="179660"/>
                </a:xfrm>
                <a:custGeom>
                  <a:avLst/>
                  <a:gdLst>
                    <a:gd name="connsiteX0" fmla="*/ 0 w 270803"/>
                    <a:gd name="connsiteY0" fmla="*/ 98435 h 179660"/>
                    <a:gd name="connsiteX1" fmla="*/ 64230 w 270803"/>
                    <a:gd name="connsiteY1" fmla="*/ 18970 h 179660"/>
                    <a:gd name="connsiteX2" fmla="*/ 113302 w 270803"/>
                    <a:gd name="connsiteY2" fmla="*/ 2817 h 179660"/>
                    <a:gd name="connsiteX3" fmla="*/ 245207 w 270803"/>
                    <a:gd name="connsiteY3" fmla="*/ 70568 h 179660"/>
                    <a:gd name="connsiteX4" fmla="*/ 268633 w 270803"/>
                    <a:gd name="connsiteY4" fmla="*/ 121172 h 179660"/>
                    <a:gd name="connsiteX5" fmla="*/ 251944 w 270803"/>
                    <a:gd name="connsiteY5" fmla="*/ 179660 h 17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03" h="179660">
                      <a:moveTo>
                        <a:pt x="0" y="98435"/>
                      </a:moveTo>
                      <a:lnTo>
                        <a:pt x="64230" y="18970"/>
                      </a:lnTo>
                      <a:cubicBezTo>
                        <a:pt x="74565" y="2434"/>
                        <a:pt x="95159" y="-4303"/>
                        <a:pt x="113302" y="2817"/>
                      </a:cubicBezTo>
                      <a:lnTo>
                        <a:pt x="245207" y="70568"/>
                      </a:lnTo>
                      <a:cubicBezTo>
                        <a:pt x="265265" y="78454"/>
                        <a:pt x="275600" y="100808"/>
                        <a:pt x="268633" y="121172"/>
                      </a:cubicBezTo>
                      <a:lnTo>
                        <a:pt x="251944" y="179660"/>
                      </a:lnTo>
                    </a:path>
                  </a:pathLst>
                </a:custGeom>
                <a:noFill/>
                <a:ln w="12700" cap="rnd">
                  <a:solidFill>
                    <a:schemeClr val="bg1"/>
                  </a:solidFill>
                  <a:prstDash val="solid"/>
                  <a:round/>
                </a:ln>
              </p:spPr>
              <p:txBody>
                <a:bodyPr rtlCol="0" anchor="ctr"/>
                <a:lstStyle/>
                <a:p>
                  <a:endParaRPr lang="pt-BR"/>
                </a:p>
              </p:txBody>
            </p:sp>
            <p:sp>
              <p:nvSpPr>
                <p:cNvPr id="871" name="Forma Livre: Forma 870">
                  <a:extLst>
                    <a:ext uri="{FF2B5EF4-FFF2-40B4-BE49-F238E27FC236}">
                      <a16:creationId xmlns:a16="http://schemas.microsoft.com/office/drawing/2014/main" id="{2E496568-AB3A-E0B0-2951-AD48F506127B}"/>
                    </a:ext>
                  </a:extLst>
                </p:cNvPr>
                <p:cNvSpPr/>
                <p:nvPr/>
              </p:nvSpPr>
              <p:spPr>
                <a:xfrm>
                  <a:off x="1226926" y="4025440"/>
                  <a:ext cx="166278" cy="35904"/>
                </a:xfrm>
                <a:custGeom>
                  <a:avLst/>
                  <a:gdLst>
                    <a:gd name="connsiteX0" fmla="*/ 0 w 166278"/>
                    <a:gd name="connsiteY0" fmla="*/ 34527 h 35904"/>
                    <a:gd name="connsiteX1" fmla="*/ 85513 w 166278"/>
                    <a:gd name="connsiteY1" fmla="*/ 35905 h 35904"/>
                    <a:gd name="connsiteX2" fmla="*/ 166279 w 166278"/>
                    <a:gd name="connsiteY2" fmla="*/ 0 h 35904"/>
                  </a:gdLst>
                  <a:ahLst/>
                  <a:cxnLst>
                    <a:cxn ang="0">
                      <a:pos x="connsiteX0" y="connsiteY0"/>
                    </a:cxn>
                    <a:cxn ang="0">
                      <a:pos x="connsiteX1" y="connsiteY1"/>
                    </a:cxn>
                    <a:cxn ang="0">
                      <a:pos x="connsiteX2" y="connsiteY2"/>
                    </a:cxn>
                  </a:cxnLst>
                  <a:rect l="l" t="t" r="r" b="b"/>
                  <a:pathLst>
                    <a:path w="166278" h="35904">
                      <a:moveTo>
                        <a:pt x="0" y="34527"/>
                      </a:moveTo>
                      <a:lnTo>
                        <a:pt x="85513" y="35905"/>
                      </a:lnTo>
                      <a:lnTo>
                        <a:pt x="166279" y="0"/>
                      </a:lnTo>
                    </a:path>
                  </a:pathLst>
                </a:custGeom>
                <a:noFill/>
                <a:ln w="12700" cap="rnd">
                  <a:solidFill>
                    <a:schemeClr val="bg1"/>
                  </a:solidFill>
                  <a:prstDash val="solid"/>
                  <a:round/>
                </a:ln>
              </p:spPr>
              <p:txBody>
                <a:bodyPr rtlCol="0" anchor="ctr"/>
                <a:lstStyle/>
                <a:p>
                  <a:endParaRPr lang="pt-BR"/>
                </a:p>
              </p:txBody>
            </p:sp>
            <p:sp>
              <p:nvSpPr>
                <p:cNvPr id="872" name="Forma Livre: Forma 871">
                  <a:extLst>
                    <a:ext uri="{FF2B5EF4-FFF2-40B4-BE49-F238E27FC236}">
                      <a16:creationId xmlns:a16="http://schemas.microsoft.com/office/drawing/2014/main" id="{D7A54F49-27BE-949E-E474-B3DBFC9E05B4}"/>
                    </a:ext>
                  </a:extLst>
                </p:cNvPr>
                <p:cNvSpPr/>
                <p:nvPr/>
              </p:nvSpPr>
              <p:spPr>
                <a:xfrm>
                  <a:off x="1335941" y="4255260"/>
                  <a:ext cx="137799" cy="55808"/>
                </a:xfrm>
                <a:custGeom>
                  <a:avLst/>
                  <a:gdLst>
                    <a:gd name="connsiteX0" fmla="*/ 0 w 137799"/>
                    <a:gd name="connsiteY0" fmla="*/ 55809 h 55808"/>
                    <a:gd name="connsiteX1" fmla="*/ 58718 w 137799"/>
                    <a:gd name="connsiteY1" fmla="*/ 0 h 55808"/>
                    <a:gd name="connsiteX2" fmla="*/ 137800 w 137799"/>
                    <a:gd name="connsiteY2" fmla="*/ 33455 h 55808"/>
                  </a:gdLst>
                  <a:ahLst/>
                  <a:cxnLst>
                    <a:cxn ang="0">
                      <a:pos x="connsiteX0" y="connsiteY0"/>
                    </a:cxn>
                    <a:cxn ang="0">
                      <a:pos x="connsiteX1" y="connsiteY1"/>
                    </a:cxn>
                    <a:cxn ang="0">
                      <a:pos x="connsiteX2" y="connsiteY2"/>
                    </a:cxn>
                  </a:cxnLst>
                  <a:rect l="l" t="t" r="r" b="b"/>
                  <a:pathLst>
                    <a:path w="137799" h="55808">
                      <a:moveTo>
                        <a:pt x="0" y="55809"/>
                      </a:moveTo>
                      <a:lnTo>
                        <a:pt x="58718" y="0"/>
                      </a:lnTo>
                      <a:lnTo>
                        <a:pt x="137800" y="33455"/>
                      </a:lnTo>
                    </a:path>
                  </a:pathLst>
                </a:custGeom>
                <a:noFill/>
                <a:ln w="12700" cap="rnd">
                  <a:solidFill>
                    <a:schemeClr val="bg1"/>
                  </a:solidFill>
                  <a:prstDash val="solid"/>
                  <a:round/>
                </a:ln>
              </p:spPr>
              <p:txBody>
                <a:bodyPr rtlCol="0" anchor="ctr"/>
                <a:lstStyle/>
                <a:p>
                  <a:endParaRPr lang="pt-BR"/>
                </a:p>
              </p:txBody>
            </p:sp>
            <p:sp>
              <p:nvSpPr>
                <p:cNvPr id="873" name="Forma Livre: Forma 872">
                  <a:extLst>
                    <a:ext uri="{FF2B5EF4-FFF2-40B4-BE49-F238E27FC236}">
                      <a16:creationId xmlns:a16="http://schemas.microsoft.com/office/drawing/2014/main" id="{668D7836-7885-B901-6E6E-7F34589EBEF1}"/>
                    </a:ext>
                  </a:extLst>
                </p:cNvPr>
                <p:cNvSpPr/>
                <p:nvPr/>
              </p:nvSpPr>
              <p:spPr>
                <a:xfrm>
                  <a:off x="1583752" y="4327528"/>
                  <a:ext cx="44095" cy="38890"/>
                </a:xfrm>
                <a:custGeom>
                  <a:avLst/>
                  <a:gdLst>
                    <a:gd name="connsiteX0" fmla="*/ 44096 w 44095"/>
                    <a:gd name="connsiteY0" fmla="*/ 38890 h 38890"/>
                    <a:gd name="connsiteX1" fmla="*/ 0 w 44095"/>
                    <a:gd name="connsiteY1" fmla="*/ 0 h 38890"/>
                  </a:gdLst>
                  <a:ahLst/>
                  <a:cxnLst>
                    <a:cxn ang="0">
                      <a:pos x="connsiteX0" y="connsiteY0"/>
                    </a:cxn>
                    <a:cxn ang="0">
                      <a:pos x="connsiteX1" y="connsiteY1"/>
                    </a:cxn>
                  </a:cxnLst>
                  <a:rect l="l" t="t" r="r" b="b"/>
                  <a:pathLst>
                    <a:path w="44095" h="38890">
                      <a:moveTo>
                        <a:pt x="44096" y="38890"/>
                      </a:moveTo>
                      <a:lnTo>
                        <a:pt x="0" y="0"/>
                      </a:lnTo>
                    </a:path>
                  </a:pathLst>
                </a:custGeom>
                <a:ln w="12700" cap="rnd">
                  <a:solidFill>
                    <a:schemeClr val="bg1"/>
                  </a:solidFill>
                  <a:prstDash val="solid"/>
                  <a:round/>
                </a:ln>
              </p:spPr>
              <p:txBody>
                <a:bodyPr rtlCol="0" anchor="ctr"/>
                <a:lstStyle/>
                <a:p>
                  <a:endParaRPr lang="pt-BR"/>
                </a:p>
              </p:txBody>
            </p:sp>
            <p:sp>
              <p:nvSpPr>
                <p:cNvPr id="874" name="Forma Livre: Forma 873">
                  <a:extLst>
                    <a:ext uri="{FF2B5EF4-FFF2-40B4-BE49-F238E27FC236}">
                      <a16:creationId xmlns:a16="http://schemas.microsoft.com/office/drawing/2014/main" id="{9A8CAF7E-8827-3279-9C1B-228E457B25D7}"/>
                    </a:ext>
                  </a:extLst>
                </p:cNvPr>
                <p:cNvSpPr/>
                <p:nvPr/>
              </p:nvSpPr>
              <p:spPr>
                <a:xfrm>
                  <a:off x="1580843" y="3792328"/>
                  <a:ext cx="79005" cy="79005"/>
                </a:xfrm>
                <a:custGeom>
                  <a:avLst/>
                  <a:gdLst>
                    <a:gd name="connsiteX0" fmla="*/ 39503 w 79005"/>
                    <a:gd name="connsiteY0" fmla="*/ 79005 h 79005"/>
                    <a:gd name="connsiteX1" fmla="*/ 0 w 79005"/>
                    <a:gd name="connsiteY1" fmla="*/ 39503 h 79005"/>
                    <a:gd name="connsiteX2" fmla="*/ 39503 w 79005"/>
                    <a:gd name="connsiteY2" fmla="*/ 0 h 79005"/>
                    <a:gd name="connsiteX3" fmla="*/ 79005 w 79005"/>
                    <a:gd name="connsiteY3" fmla="*/ 39503 h 79005"/>
                    <a:gd name="connsiteX4" fmla="*/ 39503 w 79005"/>
                    <a:gd name="connsiteY4" fmla="*/ 79005 h 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05" h="79005">
                      <a:moveTo>
                        <a:pt x="39503" y="79005"/>
                      </a:moveTo>
                      <a:cubicBezTo>
                        <a:pt x="33684" y="61168"/>
                        <a:pt x="17761" y="45321"/>
                        <a:pt x="0" y="39503"/>
                      </a:cubicBezTo>
                      <a:cubicBezTo>
                        <a:pt x="17837" y="33684"/>
                        <a:pt x="33684" y="17761"/>
                        <a:pt x="39503" y="0"/>
                      </a:cubicBezTo>
                      <a:cubicBezTo>
                        <a:pt x="45321" y="17761"/>
                        <a:pt x="61244" y="33684"/>
                        <a:pt x="79005" y="39503"/>
                      </a:cubicBezTo>
                      <a:cubicBezTo>
                        <a:pt x="61168" y="45321"/>
                        <a:pt x="45321" y="61244"/>
                        <a:pt x="39503" y="79005"/>
                      </a:cubicBezTo>
                      <a:close/>
                    </a:path>
                  </a:pathLst>
                </a:custGeom>
                <a:noFill/>
                <a:ln w="12700" cap="rnd">
                  <a:solidFill>
                    <a:schemeClr val="bg1"/>
                  </a:solidFill>
                  <a:prstDash val="solid"/>
                  <a:round/>
                </a:ln>
              </p:spPr>
              <p:txBody>
                <a:bodyPr rtlCol="0" anchor="ctr"/>
                <a:lstStyle/>
                <a:p>
                  <a:endParaRPr lang="pt-BR"/>
                </a:p>
              </p:txBody>
            </p:sp>
            <p:sp>
              <p:nvSpPr>
                <p:cNvPr id="875" name="Forma Livre: Forma 874">
                  <a:extLst>
                    <a:ext uri="{FF2B5EF4-FFF2-40B4-BE49-F238E27FC236}">
                      <a16:creationId xmlns:a16="http://schemas.microsoft.com/office/drawing/2014/main" id="{E02EF2DA-7C44-4F04-F23F-3231E1E351E2}"/>
                    </a:ext>
                  </a:extLst>
                </p:cNvPr>
                <p:cNvSpPr/>
                <p:nvPr/>
              </p:nvSpPr>
              <p:spPr>
                <a:xfrm>
                  <a:off x="1662757" y="4082321"/>
                  <a:ext cx="62316" cy="62316"/>
                </a:xfrm>
                <a:custGeom>
                  <a:avLst/>
                  <a:gdLst>
                    <a:gd name="connsiteX0" fmla="*/ 31158 w 62316"/>
                    <a:gd name="connsiteY0" fmla="*/ 62316 h 62316"/>
                    <a:gd name="connsiteX1" fmla="*/ 0 w 62316"/>
                    <a:gd name="connsiteY1" fmla="*/ 31158 h 62316"/>
                    <a:gd name="connsiteX2" fmla="*/ 31158 w 62316"/>
                    <a:gd name="connsiteY2" fmla="*/ 0 h 62316"/>
                    <a:gd name="connsiteX3" fmla="*/ 62316 w 62316"/>
                    <a:gd name="connsiteY3" fmla="*/ 31158 h 62316"/>
                    <a:gd name="connsiteX4" fmla="*/ 31158 w 62316"/>
                    <a:gd name="connsiteY4" fmla="*/ 62316 h 62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16" h="62316">
                      <a:moveTo>
                        <a:pt x="31158" y="62316"/>
                      </a:moveTo>
                      <a:cubicBezTo>
                        <a:pt x="26565" y="48307"/>
                        <a:pt x="14010" y="35751"/>
                        <a:pt x="0" y="31158"/>
                      </a:cubicBezTo>
                      <a:cubicBezTo>
                        <a:pt x="14010" y="26565"/>
                        <a:pt x="26565" y="14010"/>
                        <a:pt x="31158" y="0"/>
                      </a:cubicBezTo>
                      <a:cubicBezTo>
                        <a:pt x="35751" y="14010"/>
                        <a:pt x="48307" y="26565"/>
                        <a:pt x="62316" y="31158"/>
                      </a:cubicBezTo>
                      <a:cubicBezTo>
                        <a:pt x="48307" y="35751"/>
                        <a:pt x="35751" y="48307"/>
                        <a:pt x="31158" y="62316"/>
                      </a:cubicBezTo>
                      <a:close/>
                    </a:path>
                  </a:pathLst>
                </a:custGeom>
                <a:noFill/>
                <a:ln w="12700" cap="rnd">
                  <a:solidFill>
                    <a:schemeClr val="bg1"/>
                  </a:solidFill>
                  <a:prstDash val="solid"/>
                  <a:round/>
                </a:ln>
              </p:spPr>
              <p:txBody>
                <a:bodyPr rtlCol="0" anchor="ctr"/>
                <a:lstStyle/>
                <a:p>
                  <a:endParaRPr lang="pt-BR"/>
                </a:p>
              </p:txBody>
            </p:sp>
            <p:sp>
              <p:nvSpPr>
                <p:cNvPr id="876" name="Forma Livre: Forma 875">
                  <a:extLst>
                    <a:ext uri="{FF2B5EF4-FFF2-40B4-BE49-F238E27FC236}">
                      <a16:creationId xmlns:a16="http://schemas.microsoft.com/office/drawing/2014/main" id="{18AA8ABF-1BFD-B9BB-D47F-920D971E4B4C}"/>
                    </a:ext>
                  </a:extLst>
                </p:cNvPr>
                <p:cNvSpPr/>
                <p:nvPr/>
              </p:nvSpPr>
              <p:spPr>
                <a:xfrm>
                  <a:off x="1560020" y="3971391"/>
                  <a:ext cx="7655" cy="47464"/>
                </a:xfrm>
                <a:custGeom>
                  <a:avLst/>
                  <a:gdLst>
                    <a:gd name="connsiteX0" fmla="*/ 0 w 7655"/>
                    <a:gd name="connsiteY0" fmla="*/ 0 h 47464"/>
                    <a:gd name="connsiteX1" fmla="*/ 0 w 7655"/>
                    <a:gd name="connsiteY1" fmla="*/ 47464 h 47464"/>
                  </a:gdLst>
                  <a:ahLst/>
                  <a:cxnLst>
                    <a:cxn ang="0">
                      <a:pos x="connsiteX0" y="connsiteY0"/>
                    </a:cxn>
                    <a:cxn ang="0">
                      <a:pos x="connsiteX1" y="connsiteY1"/>
                    </a:cxn>
                  </a:cxnLst>
                  <a:rect l="l" t="t" r="r" b="b"/>
                  <a:pathLst>
                    <a:path w="7655" h="47464">
                      <a:moveTo>
                        <a:pt x="0" y="0"/>
                      </a:moveTo>
                      <a:lnTo>
                        <a:pt x="0" y="47464"/>
                      </a:lnTo>
                    </a:path>
                  </a:pathLst>
                </a:custGeom>
                <a:ln w="12700" cap="rnd">
                  <a:solidFill>
                    <a:schemeClr val="bg1"/>
                  </a:solidFill>
                  <a:prstDash val="solid"/>
                  <a:round/>
                </a:ln>
              </p:spPr>
              <p:txBody>
                <a:bodyPr rtlCol="0" anchor="ctr"/>
                <a:lstStyle/>
                <a:p>
                  <a:endParaRPr lang="pt-BR"/>
                </a:p>
              </p:txBody>
            </p:sp>
            <p:sp>
              <p:nvSpPr>
                <p:cNvPr id="877" name="Forma Livre: Forma 876">
                  <a:extLst>
                    <a:ext uri="{FF2B5EF4-FFF2-40B4-BE49-F238E27FC236}">
                      <a16:creationId xmlns:a16="http://schemas.microsoft.com/office/drawing/2014/main" id="{DAAEB6C3-D7C5-BB67-26B9-7283659D23D8}"/>
                    </a:ext>
                  </a:extLst>
                </p:cNvPr>
                <p:cNvSpPr/>
                <p:nvPr/>
              </p:nvSpPr>
              <p:spPr>
                <a:xfrm>
                  <a:off x="1536287" y="3995124"/>
                  <a:ext cx="47464" cy="7655"/>
                </a:xfrm>
                <a:custGeom>
                  <a:avLst/>
                  <a:gdLst>
                    <a:gd name="connsiteX0" fmla="*/ 0 w 47464"/>
                    <a:gd name="connsiteY0" fmla="*/ 0 h 7655"/>
                    <a:gd name="connsiteX1" fmla="*/ 47464 w 47464"/>
                    <a:gd name="connsiteY1" fmla="*/ 0 h 7655"/>
                  </a:gdLst>
                  <a:ahLst/>
                  <a:cxnLst>
                    <a:cxn ang="0">
                      <a:pos x="connsiteX0" y="connsiteY0"/>
                    </a:cxn>
                    <a:cxn ang="0">
                      <a:pos x="connsiteX1" y="connsiteY1"/>
                    </a:cxn>
                  </a:cxnLst>
                  <a:rect l="l" t="t" r="r" b="b"/>
                  <a:pathLst>
                    <a:path w="47464" h="7655">
                      <a:moveTo>
                        <a:pt x="0" y="0"/>
                      </a:moveTo>
                      <a:lnTo>
                        <a:pt x="47464" y="0"/>
                      </a:lnTo>
                    </a:path>
                  </a:pathLst>
                </a:custGeom>
                <a:ln w="12700" cap="rnd">
                  <a:solidFill>
                    <a:schemeClr val="bg1"/>
                  </a:solidFill>
                  <a:prstDash val="solid"/>
                  <a:round/>
                </a:ln>
              </p:spPr>
              <p:txBody>
                <a:bodyPr rtlCol="0" anchor="ctr"/>
                <a:lstStyle/>
                <a:p>
                  <a:endParaRPr lang="pt-BR"/>
                </a:p>
              </p:txBody>
            </p:sp>
            <p:sp>
              <p:nvSpPr>
                <p:cNvPr id="878" name="Forma Livre: Forma 877">
                  <a:extLst>
                    <a:ext uri="{FF2B5EF4-FFF2-40B4-BE49-F238E27FC236}">
                      <a16:creationId xmlns:a16="http://schemas.microsoft.com/office/drawing/2014/main" id="{41AA4DB8-FF6C-5E9C-0562-64B4BA0E6020}"/>
                    </a:ext>
                  </a:extLst>
                </p:cNvPr>
                <p:cNvSpPr/>
                <p:nvPr/>
              </p:nvSpPr>
              <p:spPr>
                <a:xfrm>
                  <a:off x="1560020" y="4162780"/>
                  <a:ext cx="995" cy="52134"/>
                </a:xfrm>
                <a:custGeom>
                  <a:avLst/>
                  <a:gdLst>
                    <a:gd name="connsiteX0" fmla="*/ 995 w 995"/>
                    <a:gd name="connsiteY0" fmla="*/ 0 h 52134"/>
                    <a:gd name="connsiteX1" fmla="*/ 0 w 995"/>
                    <a:gd name="connsiteY1" fmla="*/ 52134 h 52134"/>
                  </a:gdLst>
                  <a:ahLst/>
                  <a:cxnLst>
                    <a:cxn ang="0">
                      <a:pos x="connsiteX0" y="connsiteY0"/>
                    </a:cxn>
                    <a:cxn ang="0">
                      <a:pos x="connsiteX1" y="connsiteY1"/>
                    </a:cxn>
                  </a:cxnLst>
                  <a:rect l="l" t="t" r="r" b="b"/>
                  <a:pathLst>
                    <a:path w="995" h="52134">
                      <a:moveTo>
                        <a:pt x="995" y="0"/>
                      </a:moveTo>
                      <a:lnTo>
                        <a:pt x="0" y="52134"/>
                      </a:lnTo>
                    </a:path>
                  </a:pathLst>
                </a:custGeom>
                <a:ln w="12700" cap="rnd">
                  <a:solidFill>
                    <a:schemeClr val="bg1"/>
                  </a:solidFill>
                  <a:prstDash val="solid"/>
                  <a:round/>
                </a:ln>
              </p:spPr>
              <p:txBody>
                <a:bodyPr rtlCol="0" anchor="ctr"/>
                <a:lstStyle/>
                <a:p>
                  <a:endParaRPr lang="pt-BR"/>
                </a:p>
              </p:txBody>
            </p:sp>
            <p:sp>
              <p:nvSpPr>
                <p:cNvPr id="879" name="Forma Livre: Forma 878">
                  <a:extLst>
                    <a:ext uri="{FF2B5EF4-FFF2-40B4-BE49-F238E27FC236}">
                      <a16:creationId xmlns:a16="http://schemas.microsoft.com/office/drawing/2014/main" id="{2C846BB5-8BAC-28C4-1A70-967157ED72ED}"/>
                    </a:ext>
                  </a:extLst>
                </p:cNvPr>
                <p:cNvSpPr/>
                <p:nvPr/>
              </p:nvSpPr>
              <p:spPr>
                <a:xfrm>
                  <a:off x="1388305" y="4056368"/>
                  <a:ext cx="114144" cy="141551"/>
                </a:xfrm>
                <a:custGeom>
                  <a:avLst/>
                  <a:gdLst>
                    <a:gd name="connsiteX0" fmla="*/ 114144 w 114144"/>
                    <a:gd name="connsiteY0" fmla="*/ 0 h 141551"/>
                    <a:gd name="connsiteX1" fmla="*/ 51369 w 114144"/>
                    <a:gd name="connsiteY1" fmla="*/ 44096 h 141551"/>
                    <a:gd name="connsiteX2" fmla="*/ 45091 w 114144"/>
                    <a:gd name="connsiteY2" fmla="*/ 120575 h 141551"/>
                    <a:gd name="connsiteX3" fmla="*/ 0 w 114144"/>
                    <a:gd name="connsiteY3" fmla="*/ 141551 h 141551"/>
                  </a:gdLst>
                  <a:ahLst/>
                  <a:cxnLst>
                    <a:cxn ang="0">
                      <a:pos x="connsiteX0" y="connsiteY0"/>
                    </a:cxn>
                    <a:cxn ang="0">
                      <a:pos x="connsiteX1" y="connsiteY1"/>
                    </a:cxn>
                    <a:cxn ang="0">
                      <a:pos x="connsiteX2" y="connsiteY2"/>
                    </a:cxn>
                    <a:cxn ang="0">
                      <a:pos x="connsiteX3" y="connsiteY3"/>
                    </a:cxn>
                  </a:cxnLst>
                  <a:rect l="l" t="t" r="r" b="b"/>
                  <a:pathLst>
                    <a:path w="114144" h="141551">
                      <a:moveTo>
                        <a:pt x="114144" y="0"/>
                      </a:moveTo>
                      <a:lnTo>
                        <a:pt x="51369" y="44096"/>
                      </a:lnTo>
                      <a:lnTo>
                        <a:pt x="45091" y="120575"/>
                      </a:lnTo>
                      <a:lnTo>
                        <a:pt x="0" y="141551"/>
                      </a:lnTo>
                    </a:path>
                  </a:pathLst>
                </a:custGeom>
                <a:noFill/>
                <a:ln w="12700" cap="rnd">
                  <a:solidFill>
                    <a:schemeClr val="bg1"/>
                  </a:solidFill>
                  <a:prstDash val="solid"/>
                  <a:round/>
                </a:ln>
              </p:spPr>
              <p:txBody>
                <a:bodyPr rtlCol="0" anchor="ctr"/>
                <a:lstStyle/>
                <a:p>
                  <a:endParaRPr lang="pt-BR"/>
                </a:p>
              </p:txBody>
            </p:sp>
            <p:sp>
              <p:nvSpPr>
                <p:cNvPr id="880" name="Forma Livre: Forma 879">
                  <a:extLst>
                    <a:ext uri="{FF2B5EF4-FFF2-40B4-BE49-F238E27FC236}">
                      <a16:creationId xmlns:a16="http://schemas.microsoft.com/office/drawing/2014/main" id="{B240B8DB-542D-B658-7C01-11E425662B47}"/>
                    </a:ext>
                  </a:extLst>
                </p:cNvPr>
                <p:cNvSpPr/>
                <p:nvPr/>
              </p:nvSpPr>
              <p:spPr>
                <a:xfrm>
                  <a:off x="1392439" y="4100464"/>
                  <a:ext cx="47234" cy="7655"/>
                </a:xfrm>
                <a:custGeom>
                  <a:avLst/>
                  <a:gdLst>
                    <a:gd name="connsiteX0" fmla="*/ 47235 w 47234"/>
                    <a:gd name="connsiteY0" fmla="*/ 0 h 7655"/>
                    <a:gd name="connsiteX1" fmla="*/ 0 w 47234"/>
                    <a:gd name="connsiteY1" fmla="*/ 7656 h 7655"/>
                  </a:gdLst>
                  <a:ahLst/>
                  <a:cxnLst>
                    <a:cxn ang="0">
                      <a:pos x="connsiteX0" y="connsiteY0"/>
                    </a:cxn>
                    <a:cxn ang="0">
                      <a:pos x="connsiteX1" y="connsiteY1"/>
                    </a:cxn>
                  </a:cxnLst>
                  <a:rect l="l" t="t" r="r" b="b"/>
                  <a:pathLst>
                    <a:path w="47234" h="7655">
                      <a:moveTo>
                        <a:pt x="47235" y="0"/>
                      </a:moveTo>
                      <a:lnTo>
                        <a:pt x="0" y="7656"/>
                      </a:lnTo>
                    </a:path>
                  </a:pathLst>
                </a:custGeom>
                <a:ln w="12700" cap="rnd">
                  <a:solidFill>
                    <a:schemeClr val="bg1"/>
                  </a:solidFill>
                  <a:prstDash val="solid"/>
                  <a:round/>
                </a:ln>
              </p:spPr>
              <p:txBody>
                <a:bodyPr rtlCol="0" anchor="ctr"/>
                <a:lstStyle/>
                <a:p>
                  <a:endParaRPr lang="pt-BR"/>
                </a:p>
              </p:txBody>
            </p:sp>
            <p:sp>
              <p:nvSpPr>
                <p:cNvPr id="881" name="Forma Livre: Forma 880">
                  <a:extLst>
                    <a:ext uri="{FF2B5EF4-FFF2-40B4-BE49-F238E27FC236}">
                      <a16:creationId xmlns:a16="http://schemas.microsoft.com/office/drawing/2014/main" id="{8EB58734-A59D-7F20-F3AA-4AF991D4A36C}"/>
                    </a:ext>
                  </a:extLst>
                </p:cNvPr>
                <p:cNvSpPr/>
                <p:nvPr/>
              </p:nvSpPr>
              <p:spPr>
                <a:xfrm>
                  <a:off x="1331118" y="4135374"/>
                  <a:ext cx="33071" cy="37741"/>
                </a:xfrm>
                <a:custGeom>
                  <a:avLst/>
                  <a:gdLst>
                    <a:gd name="connsiteX0" fmla="*/ 33072 w 33071"/>
                    <a:gd name="connsiteY0" fmla="*/ 0 h 37741"/>
                    <a:gd name="connsiteX1" fmla="*/ 0 w 33071"/>
                    <a:gd name="connsiteY1" fmla="*/ 37742 h 37741"/>
                  </a:gdLst>
                  <a:ahLst/>
                  <a:cxnLst>
                    <a:cxn ang="0">
                      <a:pos x="connsiteX0" y="connsiteY0"/>
                    </a:cxn>
                    <a:cxn ang="0">
                      <a:pos x="connsiteX1" y="connsiteY1"/>
                    </a:cxn>
                  </a:cxnLst>
                  <a:rect l="l" t="t" r="r" b="b"/>
                  <a:pathLst>
                    <a:path w="33071" h="37741">
                      <a:moveTo>
                        <a:pt x="33072" y="0"/>
                      </a:moveTo>
                      <a:lnTo>
                        <a:pt x="0" y="37742"/>
                      </a:lnTo>
                    </a:path>
                  </a:pathLst>
                </a:custGeom>
                <a:ln w="12700" cap="rnd">
                  <a:solidFill>
                    <a:schemeClr val="bg1"/>
                  </a:solidFill>
                  <a:prstDash val="solid"/>
                  <a:round/>
                </a:ln>
              </p:spPr>
              <p:txBody>
                <a:bodyPr rtlCol="0" anchor="ctr"/>
                <a:lstStyle/>
                <a:p>
                  <a:endParaRPr lang="pt-BR"/>
                </a:p>
              </p:txBody>
            </p:sp>
            <p:sp>
              <p:nvSpPr>
                <p:cNvPr id="882" name="Forma Livre: Forma 881">
                  <a:extLst>
                    <a:ext uri="{FF2B5EF4-FFF2-40B4-BE49-F238E27FC236}">
                      <a16:creationId xmlns:a16="http://schemas.microsoft.com/office/drawing/2014/main" id="{C8DCA310-CA46-98C7-18AF-96CE4E7ED7E9}"/>
                    </a:ext>
                  </a:extLst>
                </p:cNvPr>
                <p:cNvSpPr/>
                <p:nvPr/>
              </p:nvSpPr>
              <p:spPr>
                <a:xfrm>
                  <a:off x="1750566" y="3904941"/>
                  <a:ext cx="7655" cy="44019"/>
                </a:xfrm>
                <a:custGeom>
                  <a:avLst/>
                  <a:gdLst>
                    <a:gd name="connsiteX0" fmla="*/ 0 w 7655"/>
                    <a:gd name="connsiteY0" fmla="*/ 0 h 44019"/>
                    <a:gd name="connsiteX1" fmla="*/ 0 w 7655"/>
                    <a:gd name="connsiteY1" fmla="*/ 44019 h 44019"/>
                  </a:gdLst>
                  <a:ahLst/>
                  <a:cxnLst>
                    <a:cxn ang="0">
                      <a:pos x="connsiteX0" y="connsiteY0"/>
                    </a:cxn>
                    <a:cxn ang="0">
                      <a:pos x="connsiteX1" y="connsiteY1"/>
                    </a:cxn>
                  </a:cxnLst>
                  <a:rect l="l" t="t" r="r" b="b"/>
                  <a:pathLst>
                    <a:path w="7655" h="44019">
                      <a:moveTo>
                        <a:pt x="0" y="0"/>
                      </a:moveTo>
                      <a:lnTo>
                        <a:pt x="0" y="44019"/>
                      </a:lnTo>
                    </a:path>
                  </a:pathLst>
                </a:custGeom>
                <a:ln w="12700" cap="rnd">
                  <a:solidFill>
                    <a:schemeClr val="bg1"/>
                  </a:solidFill>
                  <a:prstDash val="solid"/>
                  <a:round/>
                </a:ln>
              </p:spPr>
              <p:txBody>
                <a:bodyPr rtlCol="0" anchor="ctr"/>
                <a:lstStyle/>
                <a:p>
                  <a:endParaRPr lang="pt-BR"/>
                </a:p>
              </p:txBody>
            </p:sp>
            <p:sp>
              <p:nvSpPr>
                <p:cNvPr id="883" name="Forma Livre: Forma 882">
                  <a:extLst>
                    <a:ext uri="{FF2B5EF4-FFF2-40B4-BE49-F238E27FC236}">
                      <a16:creationId xmlns:a16="http://schemas.microsoft.com/office/drawing/2014/main" id="{3F3D4933-5B6B-1B3C-E8F7-652BEF25D1D8}"/>
                    </a:ext>
                  </a:extLst>
                </p:cNvPr>
                <p:cNvSpPr/>
                <p:nvPr/>
              </p:nvSpPr>
              <p:spPr>
                <a:xfrm>
                  <a:off x="1728595" y="3926989"/>
                  <a:ext cx="44019" cy="7655"/>
                </a:xfrm>
                <a:custGeom>
                  <a:avLst/>
                  <a:gdLst>
                    <a:gd name="connsiteX0" fmla="*/ 0 w 44019"/>
                    <a:gd name="connsiteY0" fmla="*/ 0 h 7655"/>
                    <a:gd name="connsiteX1" fmla="*/ 44019 w 44019"/>
                    <a:gd name="connsiteY1" fmla="*/ 0 h 7655"/>
                  </a:gdLst>
                  <a:ahLst/>
                  <a:cxnLst>
                    <a:cxn ang="0">
                      <a:pos x="connsiteX0" y="connsiteY0"/>
                    </a:cxn>
                    <a:cxn ang="0">
                      <a:pos x="connsiteX1" y="connsiteY1"/>
                    </a:cxn>
                  </a:cxnLst>
                  <a:rect l="l" t="t" r="r" b="b"/>
                  <a:pathLst>
                    <a:path w="44019" h="7655">
                      <a:moveTo>
                        <a:pt x="0" y="0"/>
                      </a:moveTo>
                      <a:lnTo>
                        <a:pt x="44019" y="0"/>
                      </a:lnTo>
                    </a:path>
                  </a:pathLst>
                </a:custGeom>
                <a:ln w="12700" cap="rnd">
                  <a:solidFill>
                    <a:schemeClr val="bg1"/>
                  </a:solidFill>
                  <a:prstDash val="solid"/>
                  <a:round/>
                </a:ln>
              </p:spPr>
              <p:txBody>
                <a:bodyPr rtlCol="0" anchor="ctr"/>
                <a:lstStyle/>
                <a:p>
                  <a:endParaRPr lang="pt-BR"/>
                </a:p>
              </p:txBody>
            </p:sp>
          </p:grpSp>
          <p:cxnSp>
            <p:nvCxnSpPr>
              <p:cNvPr id="867" name="Conector reto 866">
                <a:extLst>
                  <a:ext uri="{FF2B5EF4-FFF2-40B4-BE49-F238E27FC236}">
                    <a16:creationId xmlns:a16="http://schemas.microsoft.com/office/drawing/2014/main" id="{69B8C58B-CFB2-67CD-B1D3-CC3193AB8C9C}"/>
                  </a:ext>
                </a:extLst>
              </p:cNvPr>
              <p:cNvCxnSpPr>
                <a:cxnSpLocks/>
              </p:cNvCxnSpPr>
              <p:nvPr/>
            </p:nvCxnSpPr>
            <p:spPr>
              <a:xfrm>
                <a:off x="1278862" y="4436688"/>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grpSp>
          <p:nvGrpSpPr>
            <p:cNvPr id="903" name="Agrupar 902">
              <a:extLst>
                <a:ext uri="{FF2B5EF4-FFF2-40B4-BE49-F238E27FC236}">
                  <a16:creationId xmlns:a16="http://schemas.microsoft.com/office/drawing/2014/main" id="{08839595-66EA-10F7-71BA-80B1657D1BEA}"/>
                </a:ext>
              </a:extLst>
            </p:cNvPr>
            <p:cNvGrpSpPr/>
            <p:nvPr/>
          </p:nvGrpSpPr>
          <p:grpSpPr>
            <a:xfrm>
              <a:off x="7029693" y="5237901"/>
              <a:ext cx="271136" cy="287825"/>
              <a:chOff x="1254810" y="3958423"/>
              <a:chExt cx="450535" cy="478265"/>
            </a:xfrm>
          </p:grpSpPr>
          <p:grpSp>
            <p:nvGrpSpPr>
              <p:cNvPr id="904" name="Agrupar 903">
                <a:extLst>
                  <a:ext uri="{FF2B5EF4-FFF2-40B4-BE49-F238E27FC236}">
                    <a16:creationId xmlns:a16="http://schemas.microsoft.com/office/drawing/2014/main" id="{163A972D-5305-99EB-3D9C-FB8E4937EA85}"/>
                  </a:ext>
                </a:extLst>
              </p:cNvPr>
              <p:cNvGrpSpPr/>
              <p:nvPr/>
            </p:nvGrpSpPr>
            <p:grpSpPr>
              <a:xfrm>
                <a:off x="1254810" y="3958423"/>
                <a:ext cx="450535" cy="473984"/>
                <a:chOff x="1226926" y="3792328"/>
                <a:chExt cx="545688" cy="574090"/>
              </a:xfrm>
            </p:grpSpPr>
            <p:sp>
              <p:nvSpPr>
                <p:cNvPr id="906" name="Forma Livre: Forma 905">
                  <a:extLst>
                    <a:ext uri="{FF2B5EF4-FFF2-40B4-BE49-F238E27FC236}">
                      <a16:creationId xmlns:a16="http://schemas.microsoft.com/office/drawing/2014/main" id="{774E5D16-CDB0-380E-8B55-CD9EDE9F6D50}"/>
                    </a:ext>
                  </a:extLst>
                </p:cNvPr>
                <p:cNvSpPr/>
                <p:nvPr/>
              </p:nvSpPr>
              <p:spPr>
                <a:xfrm>
                  <a:off x="1226926" y="3896444"/>
                  <a:ext cx="413399" cy="469974"/>
                </a:xfrm>
                <a:custGeom>
                  <a:avLst/>
                  <a:gdLst>
                    <a:gd name="connsiteX0" fmla="*/ 275523 w 413399"/>
                    <a:gd name="connsiteY0" fmla="*/ 159925 h 469974"/>
                    <a:gd name="connsiteX1" fmla="*/ 211370 w 413399"/>
                    <a:gd name="connsiteY1" fmla="*/ 53436 h 469974"/>
                    <a:gd name="connsiteX2" fmla="*/ 91943 w 413399"/>
                    <a:gd name="connsiteY2" fmla="*/ 0 h 469974"/>
                    <a:gd name="connsiteX3" fmla="*/ 0 w 413399"/>
                    <a:gd name="connsiteY3" fmla="*/ 163523 h 469974"/>
                    <a:gd name="connsiteX4" fmla="*/ 109015 w 413399"/>
                    <a:gd name="connsiteY4" fmla="*/ 414625 h 469974"/>
                    <a:gd name="connsiteX5" fmla="*/ 230815 w 413399"/>
                    <a:gd name="connsiteY5" fmla="*/ 469975 h 469974"/>
                    <a:gd name="connsiteX6" fmla="*/ 400921 w 413399"/>
                    <a:gd name="connsiteY6" fmla="*/ 469975 h 469974"/>
                    <a:gd name="connsiteX7" fmla="*/ 413400 w 413399"/>
                    <a:gd name="connsiteY7" fmla="*/ 429247 h 469974"/>
                    <a:gd name="connsiteX8" fmla="*/ 383314 w 413399"/>
                    <a:gd name="connsiteY8" fmla="*/ 339065 h 469974"/>
                    <a:gd name="connsiteX9" fmla="*/ 383620 w 413399"/>
                    <a:gd name="connsiteY9" fmla="*/ 268557 h 469974"/>
                    <a:gd name="connsiteX10" fmla="*/ 334088 w 413399"/>
                    <a:gd name="connsiteY10" fmla="*/ 266337 h 469974"/>
                    <a:gd name="connsiteX11" fmla="*/ 318318 w 413399"/>
                    <a:gd name="connsiteY11" fmla="*/ 197743 h 469974"/>
                    <a:gd name="connsiteX12" fmla="*/ 275523 w 413399"/>
                    <a:gd name="connsiteY12" fmla="*/ 159925 h 46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399" h="469974">
                      <a:moveTo>
                        <a:pt x="275523" y="159925"/>
                      </a:moveTo>
                      <a:lnTo>
                        <a:pt x="211370" y="53436"/>
                      </a:lnTo>
                      <a:lnTo>
                        <a:pt x="91943" y="0"/>
                      </a:lnTo>
                      <a:lnTo>
                        <a:pt x="0" y="163523"/>
                      </a:lnTo>
                      <a:lnTo>
                        <a:pt x="109015" y="414625"/>
                      </a:lnTo>
                      <a:lnTo>
                        <a:pt x="230815" y="469975"/>
                      </a:lnTo>
                      <a:lnTo>
                        <a:pt x="400921" y="469975"/>
                      </a:lnTo>
                      <a:lnTo>
                        <a:pt x="413400" y="429247"/>
                      </a:lnTo>
                      <a:lnTo>
                        <a:pt x="383314" y="339065"/>
                      </a:lnTo>
                      <a:lnTo>
                        <a:pt x="383620" y="268557"/>
                      </a:lnTo>
                      <a:lnTo>
                        <a:pt x="334088" y="266337"/>
                      </a:lnTo>
                      <a:lnTo>
                        <a:pt x="318318" y="197743"/>
                      </a:lnTo>
                      <a:lnTo>
                        <a:pt x="275523" y="159925"/>
                      </a:lnTo>
                      <a:close/>
                    </a:path>
                  </a:pathLst>
                </a:custGeom>
                <a:noFill/>
                <a:ln w="12700" cap="rnd">
                  <a:solidFill>
                    <a:schemeClr val="bg1"/>
                  </a:solidFill>
                  <a:prstDash val="solid"/>
                  <a:round/>
                </a:ln>
              </p:spPr>
              <p:txBody>
                <a:bodyPr rtlCol="0" anchor="ctr"/>
                <a:lstStyle/>
                <a:p>
                  <a:endParaRPr lang="pt-BR"/>
                </a:p>
              </p:txBody>
            </p:sp>
            <p:sp>
              <p:nvSpPr>
                <p:cNvPr id="907" name="Forma Livre: Forma 906">
                  <a:extLst>
                    <a:ext uri="{FF2B5EF4-FFF2-40B4-BE49-F238E27FC236}">
                      <a16:creationId xmlns:a16="http://schemas.microsoft.com/office/drawing/2014/main" id="{FA33D51F-3E18-951C-6743-CE92685B5072}"/>
                    </a:ext>
                  </a:extLst>
                </p:cNvPr>
                <p:cNvSpPr/>
                <p:nvPr/>
              </p:nvSpPr>
              <p:spPr>
                <a:xfrm>
                  <a:off x="1629609" y="4162780"/>
                  <a:ext cx="44708" cy="125780"/>
                </a:xfrm>
                <a:custGeom>
                  <a:avLst/>
                  <a:gdLst>
                    <a:gd name="connsiteX0" fmla="*/ 44708 w 44708"/>
                    <a:gd name="connsiteY0" fmla="*/ 0 h 125780"/>
                    <a:gd name="connsiteX1" fmla="*/ 0 w 44708"/>
                    <a:gd name="connsiteY1" fmla="*/ 125781 h 125780"/>
                  </a:gdLst>
                  <a:ahLst/>
                  <a:cxnLst>
                    <a:cxn ang="0">
                      <a:pos x="connsiteX0" y="connsiteY0"/>
                    </a:cxn>
                    <a:cxn ang="0">
                      <a:pos x="connsiteX1" y="connsiteY1"/>
                    </a:cxn>
                  </a:cxnLst>
                  <a:rect l="l" t="t" r="r" b="b"/>
                  <a:pathLst>
                    <a:path w="44708" h="125780">
                      <a:moveTo>
                        <a:pt x="44708" y="0"/>
                      </a:moveTo>
                      <a:lnTo>
                        <a:pt x="0" y="125781"/>
                      </a:lnTo>
                    </a:path>
                  </a:pathLst>
                </a:custGeom>
                <a:ln w="12700" cap="rnd">
                  <a:solidFill>
                    <a:schemeClr val="bg1"/>
                  </a:solidFill>
                  <a:prstDash val="solid"/>
                  <a:round/>
                </a:ln>
              </p:spPr>
              <p:txBody>
                <a:bodyPr rtlCol="0" anchor="ctr"/>
                <a:lstStyle/>
                <a:p>
                  <a:endParaRPr lang="pt-BR"/>
                </a:p>
              </p:txBody>
            </p:sp>
            <p:sp>
              <p:nvSpPr>
                <p:cNvPr id="908" name="Forma Livre: Forma 907">
                  <a:extLst>
                    <a:ext uri="{FF2B5EF4-FFF2-40B4-BE49-F238E27FC236}">
                      <a16:creationId xmlns:a16="http://schemas.microsoft.com/office/drawing/2014/main" id="{5FA9ECD9-487A-0734-E026-3BC71A295012}"/>
                    </a:ext>
                  </a:extLst>
                </p:cNvPr>
                <p:cNvSpPr/>
                <p:nvPr/>
              </p:nvSpPr>
              <p:spPr>
                <a:xfrm>
                  <a:off x="1457741" y="3883751"/>
                  <a:ext cx="270803" cy="179660"/>
                </a:xfrm>
                <a:custGeom>
                  <a:avLst/>
                  <a:gdLst>
                    <a:gd name="connsiteX0" fmla="*/ 0 w 270803"/>
                    <a:gd name="connsiteY0" fmla="*/ 98435 h 179660"/>
                    <a:gd name="connsiteX1" fmla="*/ 64230 w 270803"/>
                    <a:gd name="connsiteY1" fmla="*/ 18970 h 179660"/>
                    <a:gd name="connsiteX2" fmla="*/ 113302 w 270803"/>
                    <a:gd name="connsiteY2" fmla="*/ 2817 h 179660"/>
                    <a:gd name="connsiteX3" fmla="*/ 245207 w 270803"/>
                    <a:gd name="connsiteY3" fmla="*/ 70568 h 179660"/>
                    <a:gd name="connsiteX4" fmla="*/ 268633 w 270803"/>
                    <a:gd name="connsiteY4" fmla="*/ 121172 h 179660"/>
                    <a:gd name="connsiteX5" fmla="*/ 251944 w 270803"/>
                    <a:gd name="connsiteY5" fmla="*/ 179660 h 17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03" h="179660">
                      <a:moveTo>
                        <a:pt x="0" y="98435"/>
                      </a:moveTo>
                      <a:lnTo>
                        <a:pt x="64230" y="18970"/>
                      </a:lnTo>
                      <a:cubicBezTo>
                        <a:pt x="74565" y="2434"/>
                        <a:pt x="95159" y="-4303"/>
                        <a:pt x="113302" y="2817"/>
                      </a:cubicBezTo>
                      <a:lnTo>
                        <a:pt x="245207" y="70568"/>
                      </a:lnTo>
                      <a:cubicBezTo>
                        <a:pt x="265265" y="78454"/>
                        <a:pt x="275600" y="100808"/>
                        <a:pt x="268633" y="121172"/>
                      </a:cubicBezTo>
                      <a:lnTo>
                        <a:pt x="251944" y="179660"/>
                      </a:lnTo>
                    </a:path>
                  </a:pathLst>
                </a:custGeom>
                <a:noFill/>
                <a:ln w="12700" cap="rnd">
                  <a:solidFill>
                    <a:schemeClr val="bg1"/>
                  </a:solidFill>
                  <a:prstDash val="solid"/>
                  <a:round/>
                </a:ln>
              </p:spPr>
              <p:txBody>
                <a:bodyPr rtlCol="0" anchor="ctr"/>
                <a:lstStyle/>
                <a:p>
                  <a:endParaRPr lang="pt-BR"/>
                </a:p>
              </p:txBody>
            </p:sp>
            <p:sp>
              <p:nvSpPr>
                <p:cNvPr id="909" name="Forma Livre: Forma 908">
                  <a:extLst>
                    <a:ext uri="{FF2B5EF4-FFF2-40B4-BE49-F238E27FC236}">
                      <a16:creationId xmlns:a16="http://schemas.microsoft.com/office/drawing/2014/main" id="{7C634AAA-B613-F523-B9F1-929949D561FC}"/>
                    </a:ext>
                  </a:extLst>
                </p:cNvPr>
                <p:cNvSpPr/>
                <p:nvPr/>
              </p:nvSpPr>
              <p:spPr>
                <a:xfrm>
                  <a:off x="1226926" y="4025440"/>
                  <a:ext cx="166278" cy="35904"/>
                </a:xfrm>
                <a:custGeom>
                  <a:avLst/>
                  <a:gdLst>
                    <a:gd name="connsiteX0" fmla="*/ 0 w 166278"/>
                    <a:gd name="connsiteY0" fmla="*/ 34527 h 35904"/>
                    <a:gd name="connsiteX1" fmla="*/ 85513 w 166278"/>
                    <a:gd name="connsiteY1" fmla="*/ 35905 h 35904"/>
                    <a:gd name="connsiteX2" fmla="*/ 166279 w 166278"/>
                    <a:gd name="connsiteY2" fmla="*/ 0 h 35904"/>
                  </a:gdLst>
                  <a:ahLst/>
                  <a:cxnLst>
                    <a:cxn ang="0">
                      <a:pos x="connsiteX0" y="connsiteY0"/>
                    </a:cxn>
                    <a:cxn ang="0">
                      <a:pos x="connsiteX1" y="connsiteY1"/>
                    </a:cxn>
                    <a:cxn ang="0">
                      <a:pos x="connsiteX2" y="connsiteY2"/>
                    </a:cxn>
                  </a:cxnLst>
                  <a:rect l="l" t="t" r="r" b="b"/>
                  <a:pathLst>
                    <a:path w="166278" h="35904">
                      <a:moveTo>
                        <a:pt x="0" y="34527"/>
                      </a:moveTo>
                      <a:lnTo>
                        <a:pt x="85513" y="35905"/>
                      </a:lnTo>
                      <a:lnTo>
                        <a:pt x="166279" y="0"/>
                      </a:lnTo>
                    </a:path>
                  </a:pathLst>
                </a:custGeom>
                <a:noFill/>
                <a:ln w="12700" cap="rnd">
                  <a:solidFill>
                    <a:schemeClr val="bg1"/>
                  </a:solidFill>
                  <a:prstDash val="solid"/>
                  <a:round/>
                </a:ln>
              </p:spPr>
              <p:txBody>
                <a:bodyPr rtlCol="0" anchor="ctr"/>
                <a:lstStyle/>
                <a:p>
                  <a:endParaRPr lang="pt-BR"/>
                </a:p>
              </p:txBody>
            </p:sp>
            <p:sp>
              <p:nvSpPr>
                <p:cNvPr id="910" name="Forma Livre: Forma 909">
                  <a:extLst>
                    <a:ext uri="{FF2B5EF4-FFF2-40B4-BE49-F238E27FC236}">
                      <a16:creationId xmlns:a16="http://schemas.microsoft.com/office/drawing/2014/main" id="{53EE15C1-FD3E-B048-284E-B7F32E719285}"/>
                    </a:ext>
                  </a:extLst>
                </p:cNvPr>
                <p:cNvSpPr/>
                <p:nvPr/>
              </p:nvSpPr>
              <p:spPr>
                <a:xfrm>
                  <a:off x="1335941" y="4255260"/>
                  <a:ext cx="137799" cy="55808"/>
                </a:xfrm>
                <a:custGeom>
                  <a:avLst/>
                  <a:gdLst>
                    <a:gd name="connsiteX0" fmla="*/ 0 w 137799"/>
                    <a:gd name="connsiteY0" fmla="*/ 55809 h 55808"/>
                    <a:gd name="connsiteX1" fmla="*/ 58718 w 137799"/>
                    <a:gd name="connsiteY1" fmla="*/ 0 h 55808"/>
                    <a:gd name="connsiteX2" fmla="*/ 137800 w 137799"/>
                    <a:gd name="connsiteY2" fmla="*/ 33455 h 55808"/>
                  </a:gdLst>
                  <a:ahLst/>
                  <a:cxnLst>
                    <a:cxn ang="0">
                      <a:pos x="connsiteX0" y="connsiteY0"/>
                    </a:cxn>
                    <a:cxn ang="0">
                      <a:pos x="connsiteX1" y="connsiteY1"/>
                    </a:cxn>
                    <a:cxn ang="0">
                      <a:pos x="connsiteX2" y="connsiteY2"/>
                    </a:cxn>
                  </a:cxnLst>
                  <a:rect l="l" t="t" r="r" b="b"/>
                  <a:pathLst>
                    <a:path w="137799" h="55808">
                      <a:moveTo>
                        <a:pt x="0" y="55809"/>
                      </a:moveTo>
                      <a:lnTo>
                        <a:pt x="58718" y="0"/>
                      </a:lnTo>
                      <a:lnTo>
                        <a:pt x="137800" y="33455"/>
                      </a:lnTo>
                    </a:path>
                  </a:pathLst>
                </a:custGeom>
                <a:noFill/>
                <a:ln w="12700" cap="rnd">
                  <a:solidFill>
                    <a:schemeClr val="bg1"/>
                  </a:solidFill>
                  <a:prstDash val="solid"/>
                  <a:round/>
                </a:ln>
              </p:spPr>
              <p:txBody>
                <a:bodyPr rtlCol="0" anchor="ctr"/>
                <a:lstStyle/>
                <a:p>
                  <a:endParaRPr lang="pt-BR"/>
                </a:p>
              </p:txBody>
            </p:sp>
            <p:sp>
              <p:nvSpPr>
                <p:cNvPr id="911" name="Forma Livre: Forma 910">
                  <a:extLst>
                    <a:ext uri="{FF2B5EF4-FFF2-40B4-BE49-F238E27FC236}">
                      <a16:creationId xmlns:a16="http://schemas.microsoft.com/office/drawing/2014/main" id="{8DF607A4-8A0C-BD3D-243A-AB6C4EED5051}"/>
                    </a:ext>
                  </a:extLst>
                </p:cNvPr>
                <p:cNvSpPr/>
                <p:nvPr/>
              </p:nvSpPr>
              <p:spPr>
                <a:xfrm>
                  <a:off x="1583752" y="4327528"/>
                  <a:ext cx="44095" cy="38890"/>
                </a:xfrm>
                <a:custGeom>
                  <a:avLst/>
                  <a:gdLst>
                    <a:gd name="connsiteX0" fmla="*/ 44096 w 44095"/>
                    <a:gd name="connsiteY0" fmla="*/ 38890 h 38890"/>
                    <a:gd name="connsiteX1" fmla="*/ 0 w 44095"/>
                    <a:gd name="connsiteY1" fmla="*/ 0 h 38890"/>
                  </a:gdLst>
                  <a:ahLst/>
                  <a:cxnLst>
                    <a:cxn ang="0">
                      <a:pos x="connsiteX0" y="connsiteY0"/>
                    </a:cxn>
                    <a:cxn ang="0">
                      <a:pos x="connsiteX1" y="connsiteY1"/>
                    </a:cxn>
                  </a:cxnLst>
                  <a:rect l="l" t="t" r="r" b="b"/>
                  <a:pathLst>
                    <a:path w="44095" h="38890">
                      <a:moveTo>
                        <a:pt x="44096" y="38890"/>
                      </a:moveTo>
                      <a:lnTo>
                        <a:pt x="0" y="0"/>
                      </a:lnTo>
                    </a:path>
                  </a:pathLst>
                </a:custGeom>
                <a:ln w="12700" cap="rnd">
                  <a:solidFill>
                    <a:schemeClr val="bg1"/>
                  </a:solidFill>
                  <a:prstDash val="solid"/>
                  <a:round/>
                </a:ln>
              </p:spPr>
              <p:txBody>
                <a:bodyPr rtlCol="0" anchor="ctr"/>
                <a:lstStyle/>
                <a:p>
                  <a:endParaRPr lang="pt-BR"/>
                </a:p>
              </p:txBody>
            </p:sp>
            <p:sp>
              <p:nvSpPr>
                <p:cNvPr id="912" name="Forma Livre: Forma 911">
                  <a:extLst>
                    <a:ext uri="{FF2B5EF4-FFF2-40B4-BE49-F238E27FC236}">
                      <a16:creationId xmlns:a16="http://schemas.microsoft.com/office/drawing/2014/main" id="{CACD3323-8572-D804-37D7-15CB9DA2A8D9}"/>
                    </a:ext>
                  </a:extLst>
                </p:cNvPr>
                <p:cNvSpPr/>
                <p:nvPr/>
              </p:nvSpPr>
              <p:spPr>
                <a:xfrm>
                  <a:off x="1580843" y="3792328"/>
                  <a:ext cx="79005" cy="79005"/>
                </a:xfrm>
                <a:custGeom>
                  <a:avLst/>
                  <a:gdLst>
                    <a:gd name="connsiteX0" fmla="*/ 39503 w 79005"/>
                    <a:gd name="connsiteY0" fmla="*/ 79005 h 79005"/>
                    <a:gd name="connsiteX1" fmla="*/ 0 w 79005"/>
                    <a:gd name="connsiteY1" fmla="*/ 39503 h 79005"/>
                    <a:gd name="connsiteX2" fmla="*/ 39503 w 79005"/>
                    <a:gd name="connsiteY2" fmla="*/ 0 h 79005"/>
                    <a:gd name="connsiteX3" fmla="*/ 79005 w 79005"/>
                    <a:gd name="connsiteY3" fmla="*/ 39503 h 79005"/>
                    <a:gd name="connsiteX4" fmla="*/ 39503 w 79005"/>
                    <a:gd name="connsiteY4" fmla="*/ 79005 h 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05" h="79005">
                      <a:moveTo>
                        <a:pt x="39503" y="79005"/>
                      </a:moveTo>
                      <a:cubicBezTo>
                        <a:pt x="33684" y="61168"/>
                        <a:pt x="17761" y="45321"/>
                        <a:pt x="0" y="39503"/>
                      </a:cubicBezTo>
                      <a:cubicBezTo>
                        <a:pt x="17837" y="33684"/>
                        <a:pt x="33684" y="17761"/>
                        <a:pt x="39503" y="0"/>
                      </a:cubicBezTo>
                      <a:cubicBezTo>
                        <a:pt x="45321" y="17761"/>
                        <a:pt x="61244" y="33684"/>
                        <a:pt x="79005" y="39503"/>
                      </a:cubicBezTo>
                      <a:cubicBezTo>
                        <a:pt x="61168" y="45321"/>
                        <a:pt x="45321" y="61244"/>
                        <a:pt x="39503" y="79005"/>
                      </a:cubicBezTo>
                      <a:close/>
                    </a:path>
                  </a:pathLst>
                </a:custGeom>
                <a:noFill/>
                <a:ln w="12700" cap="rnd">
                  <a:solidFill>
                    <a:schemeClr val="bg1"/>
                  </a:solidFill>
                  <a:prstDash val="solid"/>
                  <a:round/>
                </a:ln>
              </p:spPr>
              <p:txBody>
                <a:bodyPr rtlCol="0" anchor="ctr"/>
                <a:lstStyle/>
                <a:p>
                  <a:endParaRPr lang="pt-BR"/>
                </a:p>
              </p:txBody>
            </p:sp>
            <p:sp>
              <p:nvSpPr>
                <p:cNvPr id="913" name="Forma Livre: Forma 912">
                  <a:extLst>
                    <a:ext uri="{FF2B5EF4-FFF2-40B4-BE49-F238E27FC236}">
                      <a16:creationId xmlns:a16="http://schemas.microsoft.com/office/drawing/2014/main" id="{DA62A1C2-E31D-2377-74BC-2C41FFB0597C}"/>
                    </a:ext>
                  </a:extLst>
                </p:cNvPr>
                <p:cNvSpPr/>
                <p:nvPr/>
              </p:nvSpPr>
              <p:spPr>
                <a:xfrm>
                  <a:off x="1662757" y="4082321"/>
                  <a:ext cx="62316" cy="62316"/>
                </a:xfrm>
                <a:custGeom>
                  <a:avLst/>
                  <a:gdLst>
                    <a:gd name="connsiteX0" fmla="*/ 31158 w 62316"/>
                    <a:gd name="connsiteY0" fmla="*/ 62316 h 62316"/>
                    <a:gd name="connsiteX1" fmla="*/ 0 w 62316"/>
                    <a:gd name="connsiteY1" fmla="*/ 31158 h 62316"/>
                    <a:gd name="connsiteX2" fmla="*/ 31158 w 62316"/>
                    <a:gd name="connsiteY2" fmla="*/ 0 h 62316"/>
                    <a:gd name="connsiteX3" fmla="*/ 62316 w 62316"/>
                    <a:gd name="connsiteY3" fmla="*/ 31158 h 62316"/>
                    <a:gd name="connsiteX4" fmla="*/ 31158 w 62316"/>
                    <a:gd name="connsiteY4" fmla="*/ 62316 h 62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16" h="62316">
                      <a:moveTo>
                        <a:pt x="31158" y="62316"/>
                      </a:moveTo>
                      <a:cubicBezTo>
                        <a:pt x="26565" y="48307"/>
                        <a:pt x="14010" y="35751"/>
                        <a:pt x="0" y="31158"/>
                      </a:cubicBezTo>
                      <a:cubicBezTo>
                        <a:pt x="14010" y="26565"/>
                        <a:pt x="26565" y="14010"/>
                        <a:pt x="31158" y="0"/>
                      </a:cubicBezTo>
                      <a:cubicBezTo>
                        <a:pt x="35751" y="14010"/>
                        <a:pt x="48307" y="26565"/>
                        <a:pt x="62316" y="31158"/>
                      </a:cubicBezTo>
                      <a:cubicBezTo>
                        <a:pt x="48307" y="35751"/>
                        <a:pt x="35751" y="48307"/>
                        <a:pt x="31158" y="62316"/>
                      </a:cubicBezTo>
                      <a:close/>
                    </a:path>
                  </a:pathLst>
                </a:custGeom>
                <a:noFill/>
                <a:ln w="12700" cap="rnd">
                  <a:solidFill>
                    <a:schemeClr val="bg1"/>
                  </a:solidFill>
                  <a:prstDash val="solid"/>
                  <a:round/>
                </a:ln>
              </p:spPr>
              <p:txBody>
                <a:bodyPr rtlCol="0" anchor="ctr"/>
                <a:lstStyle/>
                <a:p>
                  <a:endParaRPr lang="pt-BR"/>
                </a:p>
              </p:txBody>
            </p:sp>
            <p:sp>
              <p:nvSpPr>
                <p:cNvPr id="914" name="Forma Livre: Forma 913">
                  <a:extLst>
                    <a:ext uri="{FF2B5EF4-FFF2-40B4-BE49-F238E27FC236}">
                      <a16:creationId xmlns:a16="http://schemas.microsoft.com/office/drawing/2014/main" id="{BF712C4B-7CE9-7E6F-DDB5-C4F1DA41EE9E}"/>
                    </a:ext>
                  </a:extLst>
                </p:cNvPr>
                <p:cNvSpPr/>
                <p:nvPr/>
              </p:nvSpPr>
              <p:spPr>
                <a:xfrm>
                  <a:off x="1560020" y="3971391"/>
                  <a:ext cx="7655" cy="47464"/>
                </a:xfrm>
                <a:custGeom>
                  <a:avLst/>
                  <a:gdLst>
                    <a:gd name="connsiteX0" fmla="*/ 0 w 7655"/>
                    <a:gd name="connsiteY0" fmla="*/ 0 h 47464"/>
                    <a:gd name="connsiteX1" fmla="*/ 0 w 7655"/>
                    <a:gd name="connsiteY1" fmla="*/ 47464 h 47464"/>
                  </a:gdLst>
                  <a:ahLst/>
                  <a:cxnLst>
                    <a:cxn ang="0">
                      <a:pos x="connsiteX0" y="connsiteY0"/>
                    </a:cxn>
                    <a:cxn ang="0">
                      <a:pos x="connsiteX1" y="connsiteY1"/>
                    </a:cxn>
                  </a:cxnLst>
                  <a:rect l="l" t="t" r="r" b="b"/>
                  <a:pathLst>
                    <a:path w="7655" h="47464">
                      <a:moveTo>
                        <a:pt x="0" y="0"/>
                      </a:moveTo>
                      <a:lnTo>
                        <a:pt x="0" y="47464"/>
                      </a:lnTo>
                    </a:path>
                  </a:pathLst>
                </a:custGeom>
                <a:ln w="12700" cap="rnd">
                  <a:solidFill>
                    <a:schemeClr val="bg1"/>
                  </a:solidFill>
                  <a:prstDash val="solid"/>
                  <a:round/>
                </a:ln>
              </p:spPr>
              <p:txBody>
                <a:bodyPr rtlCol="0" anchor="ctr"/>
                <a:lstStyle/>
                <a:p>
                  <a:endParaRPr lang="pt-BR"/>
                </a:p>
              </p:txBody>
            </p:sp>
            <p:sp>
              <p:nvSpPr>
                <p:cNvPr id="915" name="Forma Livre: Forma 914">
                  <a:extLst>
                    <a:ext uri="{FF2B5EF4-FFF2-40B4-BE49-F238E27FC236}">
                      <a16:creationId xmlns:a16="http://schemas.microsoft.com/office/drawing/2014/main" id="{A2BFA18E-ECD0-5606-5E36-2910C34D7CEA}"/>
                    </a:ext>
                  </a:extLst>
                </p:cNvPr>
                <p:cNvSpPr/>
                <p:nvPr/>
              </p:nvSpPr>
              <p:spPr>
                <a:xfrm>
                  <a:off x="1536287" y="3995124"/>
                  <a:ext cx="47464" cy="7655"/>
                </a:xfrm>
                <a:custGeom>
                  <a:avLst/>
                  <a:gdLst>
                    <a:gd name="connsiteX0" fmla="*/ 0 w 47464"/>
                    <a:gd name="connsiteY0" fmla="*/ 0 h 7655"/>
                    <a:gd name="connsiteX1" fmla="*/ 47464 w 47464"/>
                    <a:gd name="connsiteY1" fmla="*/ 0 h 7655"/>
                  </a:gdLst>
                  <a:ahLst/>
                  <a:cxnLst>
                    <a:cxn ang="0">
                      <a:pos x="connsiteX0" y="connsiteY0"/>
                    </a:cxn>
                    <a:cxn ang="0">
                      <a:pos x="connsiteX1" y="connsiteY1"/>
                    </a:cxn>
                  </a:cxnLst>
                  <a:rect l="l" t="t" r="r" b="b"/>
                  <a:pathLst>
                    <a:path w="47464" h="7655">
                      <a:moveTo>
                        <a:pt x="0" y="0"/>
                      </a:moveTo>
                      <a:lnTo>
                        <a:pt x="47464" y="0"/>
                      </a:lnTo>
                    </a:path>
                  </a:pathLst>
                </a:custGeom>
                <a:ln w="12700" cap="rnd">
                  <a:solidFill>
                    <a:schemeClr val="bg1"/>
                  </a:solidFill>
                  <a:prstDash val="solid"/>
                  <a:round/>
                </a:ln>
              </p:spPr>
              <p:txBody>
                <a:bodyPr rtlCol="0" anchor="ctr"/>
                <a:lstStyle/>
                <a:p>
                  <a:endParaRPr lang="pt-BR"/>
                </a:p>
              </p:txBody>
            </p:sp>
            <p:sp>
              <p:nvSpPr>
                <p:cNvPr id="916" name="Forma Livre: Forma 915">
                  <a:extLst>
                    <a:ext uri="{FF2B5EF4-FFF2-40B4-BE49-F238E27FC236}">
                      <a16:creationId xmlns:a16="http://schemas.microsoft.com/office/drawing/2014/main" id="{AA6067F3-CA39-0E15-0CD4-B744477B70D4}"/>
                    </a:ext>
                  </a:extLst>
                </p:cNvPr>
                <p:cNvSpPr/>
                <p:nvPr/>
              </p:nvSpPr>
              <p:spPr>
                <a:xfrm>
                  <a:off x="1560020" y="4162780"/>
                  <a:ext cx="995" cy="52134"/>
                </a:xfrm>
                <a:custGeom>
                  <a:avLst/>
                  <a:gdLst>
                    <a:gd name="connsiteX0" fmla="*/ 995 w 995"/>
                    <a:gd name="connsiteY0" fmla="*/ 0 h 52134"/>
                    <a:gd name="connsiteX1" fmla="*/ 0 w 995"/>
                    <a:gd name="connsiteY1" fmla="*/ 52134 h 52134"/>
                  </a:gdLst>
                  <a:ahLst/>
                  <a:cxnLst>
                    <a:cxn ang="0">
                      <a:pos x="connsiteX0" y="connsiteY0"/>
                    </a:cxn>
                    <a:cxn ang="0">
                      <a:pos x="connsiteX1" y="connsiteY1"/>
                    </a:cxn>
                  </a:cxnLst>
                  <a:rect l="l" t="t" r="r" b="b"/>
                  <a:pathLst>
                    <a:path w="995" h="52134">
                      <a:moveTo>
                        <a:pt x="995" y="0"/>
                      </a:moveTo>
                      <a:lnTo>
                        <a:pt x="0" y="52134"/>
                      </a:lnTo>
                    </a:path>
                  </a:pathLst>
                </a:custGeom>
                <a:ln w="12700" cap="rnd">
                  <a:solidFill>
                    <a:schemeClr val="bg1"/>
                  </a:solidFill>
                  <a:prstDash val="solid"/>
                  <a:round/>
                </a:ln>
              </p:spPr>
              <p:txBody>
                <a:bodyPr rtlCol="0" anchor="ctr"/>
                <a:lstStyle/>
                <a:p>
                  <a:endParaRPr lang="pt-BR"/>
                </a:p>
              </p:txBody>
            </p:sp>
            <p:sp>
              <p:nvSpPr>
                <p:cNvPr id="917" name="Forma Livre: Forma 916">
                  <a:extLst>
                    <a:ext uri="{FF2B5EF4-FFF2-40B4-BE49-F238E27FC236}">
                      <a16:creationId xmlns:a16="http://schemas.microsoft.com/office/drawing/2014/main" id="{DC7AE9A6-AA56-A29A-2A23-6C72D7B8E090}"/>
                    </a:ext>
                  </a:extLst>
                </p:cNvPr>
                <p:cNvSpPr/>
                <p:nvPr/>
              </p:nvSpPr>
              <p:spPr>
                <a:xfrm>
                  <a:off x="1388305" y="4056368"/>
                  <a:ext cx="114144" cy="141551"/>
                </a:xfrm>
                <a:custGeom>
                  <a:avLst/>
                  <a:gdLst>
                    <a:gd name="connsiteX0" fmla="*/ 114144 w 114144"/>
                    <a:gd name="connsiteY0" fmla="*/ 0 h 141551"/>
                    <a:gd name="connsiteX1" fmla="*/ 51369 w 114144"/>
                    <a:gd name="connsiteY1" fmla="*/ 44096 h 141551"/>
                    <a:gd name="connsiteX2" fmla="*/ 45091 w 114144"/>
                    <a:gd name="connsiteY2" fmla="*/ 120575 h 141551"/>
                    <a:gd name="connsiteX3" fmla="*/ 0 w 114144"/>
                    <a:gd name="connsiteY3" fmla="*/ 141551 h 141551"/>
                  </a:gdLst>
                  <a:ahLst/>
                  <a:cxnLst>
                    <a:cxn ang="0">
                      <a:pos x="connsiteX0" y="connsiteY0"/>
                    </a:cxn>
                    <a:cxn ang="0">
                      <a:pos x="connsiteX1" y="connsiteY1"/>
                    </a:cxn>
                    <a:cxn ang="0">
                      <a:pos x="connsiteX2" y="connsiteY2"/>
                    </a:cxn>
                    <a:cxn ang="0">
                      <a:pos x="connsiteX3" y="connsiteY3"/>
                    </a:cxn>
                  </a:cxnLst>
                  <a:rect l="l" t="t" r="r" b="b"/>
                  <a:pathLst>
                    <a:path w="114144" h="141551">
                      <a:moveTo>
                        <a:pt x="114144" y="0"/>
                      </a:moveTo>
                      <a:lnTo>
                        <a:pt x="51369" y="44096"/>
                      </a:lnTo>
                      <a:lnTo>
                        <a:pt x="45091" y="120575"/>
                      </a:lnTo>
                      <a:lnTo>
                        <a:pt x="0" y="141551"/>
                      </a:lnTo>
                    </a:path>
                  </a:pathLst>
                </a:custGeom>
                <a:noFill/>
                <a:ln w="12700" cap="rnd">
                  <a:solidFill>
                    <a:schemeClr val="bg1"/>
                  </a:solidFill>
                  <a:prstDash val="solid"/>
                  <a:round/>
                </a:ln>
              </p:spPr>
              <p:txBody>
                <a:bodyPr rtlCol="0" anchor="ctr"/>
                <a:lstStyle/>
                <a:p>
                  <a:endParaRPr lang="pt-BR"/>
                </a:p>
              </p:txBody>
            </p:sp>
            <p:sp>
              <p:nvSpPr>
                <p:cNvPr id="918" name="Forma Livre: Forma 917">
                  <a:extLst>
                    <a:ext uri="{FF2B5EF4-FFF2-40B4-BE49-F238E27FC236}">
                      <a16:creationId xmlns:a16="http://schemas.microsoft.com/office/drawing/2014/main" id="{4EB32E40-4C37-9628-3627-380190C76DA0}"/>
                    </a:ext>
                  </a:extLst>
                </p:cNvPr>
                <p:cNvSpPr/>
                <p:nvPr/>
              </p:nvSpPr>
              <p:spPr>
                <a:xfrm>
                  <a:off x="1392439" y="4100464"/>
                  <a:ext cx="47234" cy="7655"/>
                </a:xfrm>
                <a:custGeom>
                  <a:avLst/>
                  <a:gdLst>
                    <a:gd name="connsiteX0" fmla="*/ 47235 w 47234"/>
                    <a:gd name="connsiteY0" fmla="*/ 0 h 7655"/>
                    <a:gd name="connsiteX1" fmla="*/ 0 w 47234"/>
                    <a:gd name="connsiteY1" fmla="*/ 7656 h 7655"/>
                  </a:gdLst>
                  <a:ahLst/>
                  <a:cxnLst>
                    <a:cxn ang="0">
                      <a:pos x="connsiteX0" y="connsiteY0"/>
                    </a:cxn>
                    <a:cxn ang="0">
                      <a:pos x="connsiteX1" y="connsiteY1"/>
                    </a:cxn>
                  </a:cxnLst>
                  <a:rect l="l" t="t" r="r" b="b"/>
                  <a:pathLst>
                    <a:path w="47234" h="7655">
                      <a:moveTo>
                        <a:pt x="47235" y="0"/>
                      </a:moveTo>
                      <a:lnTo>
                        <a:pt x="0" y="7656"/>
                      </a:lnTo>
                    </a:path>
                  </a:pathLst>
                </a:custGeom>
                <a:ln w="12700" cap="rnd">
                  <a:solidFill>
                    <a:schemeClr val="bg1"/>
                  </a:solidFill>
                  <a:prstDash val="solid"/>
                  <a:round/>
                </a:ln>
              </p:spPr>
              <p:txBody>
                <a:bodyPr rtlCol="0" anchor="ctr"/>
                <a:lstStyle/>
                <a:p>
                  <a:endParaRPr lang="pt-BR"/>
                </a:p>
              </p:txBody>
            </p:sp>
            <p:sp>
              <p:nvSpPr>
                <p:cNvPr id="919" name="Forma Livre: Forma 918">
                  <a:extLst>
                    <a:ext uri="{FF2B5EF4-FFF2-40B4-BE49-F238E27FC236}">
                      <a16:creationId xmlns:a16="http://schemas.microsoft.com/office/drawing/2014/main" id="{6565D006-29B5-BF9C-1DDE-9B933259A59D}"/>
                    </a:ext>
                  </a:extLst>
                </p:cNvPr>
                <p:cNvSpPr/>
                <p:nvPr/>
              </p:nvSpPr>
              <p:spPr>
                <a:xfrm>
                  <a:off x="1331118" y="4135374"/>
                  <a:ext cx="33071" cy="37741"/>
                </a:xfrm>
                <a:custGeom>
                  <a:avLst/>
                  <a:gdLst>
                    <a:gd name="connsiteX0" fmla="*/ 33072 w 33071"/>
                    <a:gd name="connsiteY0" fmla="*/ 0 h 37741"/>
                    <a:gd name="connsiteX1" fmla="*/ 0 w 33071"/>
                    <a:gd name="connsiteY1" fmla="*/ 37742 h 37741"/>
                  </a:gdLst>
                  <a:ahLst/>
                  <a:cxnLst>
                    <a:cxn ang="0">
                      <a:pos x="connsiteX0" y="connsiteY0"/>
                    </a:cxn>
                    <a:cxn ang="0">
                      <a:pos x="connsiteX1" y="connsiteY1"/>
                    </a:cxn>
                  </a:cxnLst>
                  <a:rect l="l" t="t" r="r" b="b"/>
                  <a:pathLst>
                    <a:path w="33071" h="37741">
                      <a:moveTo>
                        <a:pt x="33072" y="0"/>
                      </a:moveTo>
                      <a:lnTo>
                        <a:pt x="0" y="37742"/>
                      </a:lnTo>
                    </a:path>
                  </a:pathLst>
                </a:custGeom>
                <a:ln w="12700" cap="rnd">
                  <a:solidFill>
                    <a:schemeClr val="bg1"/>
                  </a:solidFill>
                  <a:prstDash val="solid"/>
                  <a:round/>
                </a:ln>
              </p:spPr>
              <p:txBody>
                <a:bodyPr rtlCol="0" anchor="ctr"/>
                <a:lstStyle/>
                <a:p>
                  <a:endParaRPr lang="pt-BR"/>
                </a:p>
              </p:txBody>
            </p:sp>
            <p:sp>
              <p:nvSpPr>
                <p:cNvPr id="920" name="Forma Livre: Forma 919">
                  <a:extLst>
                    <a:ext uri="{FF2B5EF4-FFF2-40B4-BE49-F238E27FC236}">
                      <a16:creationId xmlns:a16="http://schemas.microsoft.com/office/drawing/2014/main" id="{288B5676-46A7-2F22-169D-4D17EC45F792}"/>
                    </a:ext>
                  </a:extLst>
                </p:cNvPr>
                <p:cNvSpPr/>
                <p:nvPr/>
              </p:nvSpPr>
              <p:spPr>
                <a:xfrm>
                  <a:off x="1750566" y="3904941"/>
                  <a:ext cx="7655" cy="44019"/>
                </a:xfrm>
                <a:custGeom>
                  <a:avLst/>
                  <a:gdLst>
                    <a:gd name="connsiteX0" fmla="*/ 0 w 7655"/>
                    <a:gd name="connsiteY0" fmla="*/ 0 h 44019"/>
                    <a:gd name="connsiteX1" fmla="*/ 0 w 7655"/>
                    <a:gd name="connsiteY1" fmla="*/ 44019 h 44019"/>
                  </a:gdLst>
                  <a:ahLst/>
                  <a:cxnLst>
                    <a:cxn ang="0">
                      <a:pos x="connsiteX0" y="connsiteY0"/>
                    </a:cxn>
                    <a:cxn ang="0">
                      <a:pos x="connsiteX1" y="connsiteY1"/>
                    </a:cxn>
                  </a:cxnLst>
                  <a:rect l="l" t="t" r="r" b="b"/>
                  <a:pathLst>
                    <a:path w="7655" h="44019">
                      <a:moveTo>
                        <a:pt x="0" y="0"/>
                      </a:moveTo>
                      <a:lnTo>
                        <a:pt x="0" y="44019"/>
                      </a:lnTo>
                    </a:path>
                  </a:pathLst>
                </a:custGeom>
                <a:ln w="12700" cap="rnd">
                  <a:solidFill>
                    <a:schemeClr val="bg1"/>
                  </a:solidFill>
                  <a:prstDash val="solid"/>
                  <a:round/>
                </a:ln>
              </p:spPr>
              <p:txBody>
                <a:bodyPr rtlCol="0" anchor="ctr"/>
                <a:lstStyle/>
                <a:p>
                  <a:endParaRPr lang="pt-BR"/>
                </a:p>
              </p:txBody>
            </p:sp>
            <p:sp>
              <p:nvSpPr>
                <p:cNvPr id="921" name="Forma Livre: Forma 920">
                  <a:extLst>
                    <a:ext uri="{FF2B5EF4-FFF2-40B4-BE49-F238E27FC236}">
                      <a16:creationId xmlns:a16="http://schemas.microsoft.com/office/drawing/2014/main" id="{0CEE6D7D-B95C-A1D5-4046-1929B0E51E02}"/>
                    </a:ext>
                  </a:extLst>
                </p:cNvPr>
                <p:cNvSpPr/>
                <p:nvPr/>
              </p:nvSpPr>
              <p:spPr>
                <a:xfrm>
                  <a:off x="1728595" y="3926989"/>
                  <a:ext cx="44019" cy="7655"/>
                </a:xfrm>
                <a:custGeom>
                  <a:avLst/>
                  <a:gdLst>
                    <a:gd name="connsiteX0" fmla="*/ 0 w 44019"/>
                    <a:gd name="connsiteY0" fmla="*/ 0 h 7655"/>
                    <a:gd name="connsiteX1" fmla="*/ 44019 w 44019"/>
                    <a:gd name="connsiteY1" fmla="*/ 0 h 7655"/>
                  </a:gdLst>
                  <a:ahLst/>
                  <a:cxnLst>
                    <a:cxn ang="0">
                      <a:pos x="connsiteX0" y="connsiteY0"/>
                    </a:cxn>
                    <a:cxn ang="0">
                      <a:pos x="connsiteX1" y="connsiteY1"/>
                    </a:cxn>
                  </a:cxnLst>
                  <a:rect l="l" t="t" r="r" b="b"/>
                  <a:pathLst>
                    <a:path w="44019" h="7655">
                      <a:moveTo>
                        <a:pt x="0" y="0"/>
                      </a:moveTo>
                      <a:lnTo>
                        <a:pt x="44019" y="0"/>
                      </a:lnTo>
                    </a:path>
                  </a:pathLst>
                </a:custGeom>
                <a:ln w="12700" cap="rnd">
                  <a:solidFill>
                    <a:schemeClr val="bg1"/>
                  </a:solidFill>
                  <a:prstDash val="solid"/>
                  <a:round/>
                </a:ln>
              </p:spPr>
              <p:txBody>
                <a:bodyPr rtlCol="0" anchor="ctr"/>
                <a:lstStyle/>
                <a:p>
                  <a:endParaRPr lang="pt-BR"/>
                </a:p>
              </p:txBody>
            </p:sp>
          </p:grpSp>
          <p:cxnSp>
            <p:nvCxnSpPr>
              <p:cNvPr id="905" name="Conector reto 904">
                <a:extLst>
                  <a:ext uri="{FF2B5EF4-FFF2-40B4-BE49-F238E27FC236}">
                    <a16:creationId xmlns:a16="http://schemas.microsoft.com/office/drawing/2014/main" id="{7D898A61-FBA3-AF38-DC31-543106CBD43A}"/>
                  </a:ext>
                </a:extLst>
              </p:cNvPr>
              <p:cNvCxnSpPr>
                <a:cxnSpLocks/>
              </p:cNvCxnSpPr>
              <p:nvPr/>
            </p:nvCxnSpPr>
            <p:spPr>
              <a:xfrm>
                <a:off x="1278862" y="4436688"/>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grpSp>
          <p:nvGrpSpPr>
            <p:cNvPr id="922" name="Agrupar 921">
              <a:extLst>
                <a:ext uri="{FF2B5EF4-FFF2-40B4-BE49-F238E27FC236}">
                  <a16:creationId xmlns:a16="http://schemas.microsoft.com/office/drawing/2014/main" id="{AA8C4DE1-209B-58C9-23D5-80C3C26B1268}"/>
                </a:ext>
              </a:extLst>
            </p:cNvPr>
            <p:cNvGrpSpPr/>
            <p:nvPr/>
          </p:nvGrpSpPr>
          <p:grpSpPr>
            <a:xfrm>
              <a:off x="6678711" y="4658865"/>
              <a:ext cx="235637" cy="267707"/>
              <a:chOff x="1275030" y="5205172"/>
              <a:chExt cx="402431" cy="457200"/>
            </a:xfrm>
          </p:grpSpPr>
          <p:pic>
            <p:nvPicPr>
              <p:cNvPr id="923" name="Gráfico 922">
                <a:extLst>
                  <a:ext uri="{FF2B5EF4-FFF2-40B4-BE49-F238E27FC236}">
                    <a16:creationId xmlns:a16="http://schemas.microsoft.com/office/drawing/2014/main" id="{013924C3-408D-BF8E-E126-8AE6F6F2C51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277411" y="5205172"/>
                <a:ext cx="400050" cy="457200"/>
              </a:xfrm>
              <a:prstGeom prst="rect">
                <a:avLst/>
              </a:prstGeom>
            </p:spPr>
          </p:pic>
          <p:cxnSp>
            <p:nvCxnSpPr>
              <p:cNvPr id="924" name="Conector reto 923">
                <a:extLst>
                  <a:ext uri="{FF2B5EF4-FFF2-40B4-BE49-F238E27FC236}">
                    <a16:creationId xmlns:a16="http://schemas.microsoft.com/office/drawing/2014/main" id="{9059DEDA-7EA6-F921-6E8F-0180CC274072}"/>
                  </a:ext>
                </a:extLst>
              </p:cNvPr>
              <p:cNvCxnSpPr>
                <a:cxnSpLocks/>
              </p:cNvCxnSpPr>
              <p:nvPr/>
            </p:nvCxnSpPr>
            <p:spPr>
              <a:xfrm>
                <a:off x="1275030" y="5657369"/>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grpSp>
          <p:nvGrpSpPr>
            <p:cNvPr id="925" name="Agrupar 924">
              <a:extLst>
                <a:ext uri="{FF2B5EF4-FFF2-40B4-BE49-F238E27FC236}">
                  <a16:creationId xmlns:a16="http://schemas.microsoft.com/office/drawing/2014/main" id="{53E7DF8E-66A6-239C-4F3A-10ABAF0837DC}"/>
                </a:ext>
              </a:extLst>
            </p:cNvPr>
            <p:cNvGrpSpPr/>
            <p:nvPr/>
          </p:nvGrpSpPr>
          <p:grpSpPr>
            <a:xfrm>
              <a:off x="6803067" y="4942513"/>
              <a:ext cx="260388" cy="277336"/>
              <a:chOff x="1275030" y="6279557"/>
              <a:chExt cx="402431" cy="428625"/>
            </a:xfrm>
          </p:grpSpPr>
          <p:pic>
            <p:nvPicPr>
              <p:cNvPr id="926" name="Gráfico 925">
                <a:extLst>
                  <a:ext uri="{FF2B5EF4-FFF2-40B4-BE49-F238E27FC236}">
                    <a16:creationId xmlns:a16="http://schemas.microsoft.com/office/drawing/2014/main" id="{5CA9727D-8517-CC4F-5A10-0D6247CDEDD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7411" y="6279557"/>
                <a:ext cx="400050" cy="428625"/>
              </a:xfrm>
              <a:prstGeom prst="rect">
                <a:avLst/>
              </a:prstGeom>
            </p:spPr>
          </p:pic>
          <p:cxnSp>
            <p:nvCxnSpPr>
              <p:cNvPr id="927" name="Conector reto 926">
                <a:extLst>
                  <a:ext uri="{FF2B5EF4-FFF2-40B4-BE49-F238E27FC236}">
                    <a16:creationId xmlns:a16="http://schemas.microsoft.com/office/drawing/2014/main" id="{E9CFA92C-AFE7-C64E-0C4C-579C7695F9C4}"/>
                  </a:ext>
                </a:extLst>
              </p:cNvPr>
              <p:cNvCxnSpPr>
                <a:cxnSpLocks/>
              </p:cNvCxnSpPr>
              <p:nvPr/>
            </p:nvCxnSpPr>
            <p:spPr>
              <a:xfrm>
                <a:off x="1275030" y="6708182"/>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sp>
          <p:nvSpPr>
            <p:cNvPr id="943" name="CaixaDeTexto 942">
              <a:extLst>
                <a:ext uri="{FF2B5EF4-FFF2-40B4-BE49-F238E27FC236}">
                  <a16:creationId xmlns:a16="http://schemas.microsoft.com/office/drawing/2014/main" id="{C1E1536B-C2C9-4238-DCF7-BBEFA2FB2A81}"/>
                </a:ext>
              </a:extLst>
            </p:cNvPr>
            <p:cNvSpPr txBox="1"/>
            <p:nvPr/>
          </p:nvSpPr>
          <p:spPr>
            <a:xfrm>
              <a:off x="5060246" y="5284261"/>
              <a:ext cx="1598046"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dirty="0"/>
                <a:t>Cerro Lindo</a:t>
              </a:r>
            </a:p>
          </p:txBody>
        </p:sp>
        <p:sp>
          <p:nvSpPr>
            <p:cNvPr id="945" name="CaixaDeTexto 944">
              <a:extLst>
                <a:ext uri="{FF2B5EF4-FFF2-40B4-BE49-F238E27FC236}">
                  <a16:creationId xmlns:a16="http://schemas.microsoft.com/office/drawing/2014/main" id="{382483A2-1C46-4A15-A114-95033E120760}"/>
                </a:ext>
              </a:extLst>
            </p:cNvPr>
            <p:cNvSpPr txBox="1"/>
            <p:nvPr/>
          </p:nvSpPr>
          <p:spPr>
            <a:xfrm>
              <a:off x="8305005" y="4576961"/>
              <a:ext cx="1103283"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dirty="0"/>
                <a:t>Atacocha</a:t>
              </a:r>
            </a:p>
          </p:txBody>
        </p:sp>
        <p:sp>
          <p:nvSpPr>
            <p:cNvPr id="946" name="CaixaDeTexto 945">
              <a:extLst>
                <a:ext uri="{FF2B5EF4-FFF2-40B4-BE49-F238E27FC236}">
                  <a16:creationId xmlns:a16="http://schemas.microsoft.com/office/drawing/2014/main" id="{38C3408B-6E0C-F287-3266-D97AC271C99A}"/>
                </a:ext>
              </a:extLst>
            </p:cNvPr>
            <p:cNvSpPr txBox="1"/>
            <p:nvPr/>
          </p:nvSpPr>
          <p:spPr>
            <a:xfrm>
              <a:off x="4979253" y="4674207"/>
              <a:ext cx="1598046"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dirty="0" err="1"/>
                <a:t>Cajamarquilla</a:t>
              </a:r>
              <a:endParaRPr lang="pt-BR" sz="1600" dirty="0"/>
            </a:p>
          </p:txBody>
        </p:sp>
        <p:sp>
          <p:nvSpPr>
            <p:cNvPr id="947" name="CaixaDeTexto 946">
              <a:extLst>
                <a:ext uri="{FF2B5EF4-FFF2-40B4-BE49-F238E27FC236}">
                  <a16:creationId xmlns:a16="http://schemas.microsoft.com/office/drawing/2014/main" id="{5F80DB0E-52A8-9DCF-BF9A-F9B8F9F67C8F}"/>
                </a:ext>
              </a:extLst>
            </p:cNvPr>
            <p:cNvSpPr txBox="1"/>
            <p:nvPr/>
          </p:nvSpPr>
          <p:spPr>
            <a:xfrm>
              <a:off x="4668103" y="5008589"/>
              <a:ext cx="1341798"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a:t>Lima</a:t>
              </a:r>
            </a:p>
          </p:txBody>
        </p:sp>
        <p:cxnSp>
          <p:nvCxnSpPr>
            <p:cNvPr id="953" name="Conector reto 952">
              <a:extLst>
                <a:ext uri="{FF2B5EF4-FFF2-40B4-BE49-F238E27FC236}">
                  <a16:creationId xmlns:a16="http://schemas.microsoft.com/office/drawing/2014/main" id="{BE8619B6-9F90-AF60-D222-9045018CD0B7}"/>
                </a:ext>
              </a:extLst>
            </p:cNvPr>
            <p:cNvCxnSpPr>
              <a:cxnSpLocks/>
            </p:cNvCxnSpPr>
            <p:nvPr/>
          </p:nvCxnSpPr>
          <p:spPr>
            <a:xfrm>
              <a:off x="6253221" y="5521956"/>
              <a:ext cx="791009"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grpSp>
          <p:nvGrpSpPr>
            <p:cNvPr id="884" name="Agrupar 883">
              <a:extLst>
                <a:ext uri="{FF2B5EF4-FFF2-40B4-BE49-F238E27FC236}">
                  <a16:creationId xmlns:a16="http://schemas.microsoft.com/office/drawing/2014/main" id="{EB4BE7C8-40F1-C9CF-D7BE-B9FC556221C4}"/>
                </a:ext>
              </a:extLst>
            </p:cNvPr>
            <p:cNvGrpSpPr/>
            <p:nvPr/>
          </p:nvGrpSpPr>
          <p:grpSpPr>
            <a:xfrm>
              <a:off x="7293562" y="4531292"/>
              <a:ext cx="271136" cy="287825"/>
              <a:chOff x="1254810" y="3958423"/>
              <a:chExt cx="450535" cy="478265"/>
            </a:xfrm>
          </p:grpSpPr>
          <p:grpSp>
            <p:nvGrpSpPr>
              <p:cNvPr id="885" name="Agrupar 884">
                <a:extLst>
                  <a:ext uri="{FF2B5EF4-FFF2-40B4-BE49-F238E27FC236}">
                    <a16:creationId xmlns:a16="http://schemas.microsoft.com/office/drawing/2014/main" id="{6F06B545-D189-2A81-6E2F-1668E761028E}"/>
                  </a:ext>
                </a:extLst>
              </p:cNvPr>
              <p:cNvGrpSpPr/>
              <p:nvPr/>
            </p:nvGrpSpPr>
            <p:grpSpPr>
              <a:xfrm>
                <a:off x="1254810" y="3958423"/>
                <a:ext cx="450535" cy="473984"/>
                <a:chOff x="1226926" y="3792328"/>
                <a:chExt cx="545688" cy="574090"/>
              </a:xfrm>
            </p:grpSpPr>
            <p:sp>
              <p:nvSpPr>
                <p:cNvPr id="887" name="Forma Livre: Forma 886">
                  <a:extLst>
                    <a:ext uri="{FF2B5EF4-FFF2-40B4-BE49-F238E27FC236}">
                      <a16:creationId xmlns:a16="http://schemas.microsoft.com/office/drawing/2014/main" id="{B8131490-26A6-A82C-F771-6DC366751485}"/>
                    </a:ext>
                  </a:extLst>
                </p:cNvPr>
                <p:cNvSpPr/>
                <p:nvPr/>
              </p:nvSpPr>
              <p:spPr>
                <a:xfrm>
                  <a:off x="1226926" y="3896444"/>
                  <a:ext cx="413399" cy="469974"/>
                </a:xfrm>
                <a:custGeom>
                  <a:avLst/>
                  <a:gdLst>
                    <a:gd name="connsiteX0" fmla="*/ 275523 w 413399"/>
                    <a:gd name="connsiteY0" fmla="*/ 159925 h 469974"/>
                    <a:gd name="connsiteX1" fmla="*/ 211370 w 413399"/>
                    <a:gd name="connsiteY1" fmla="*/ 53436 h 469974"/>
                    <a:gd name="connsiteX2" fmla="*/ 91943 w 413399"/>
                    <a:gd name="connsiteY2" fmla="*/ 0 h 469974"/>
                    <a:gd name="connsiteX3" fmla="*/ 0 w 413399"/>
                    <a:gd name="connsiteY3" fmla="*/ 163523 h 469974"/>
                    <a:gd name="connsiteX4" fmla="*/ 109015 w 413399"/>
                    <a:gd name="connsiteY4" fmla="*/ 414625 h 469974"/>
                    <a:gd name="connsiteX5" fmla="*/ 230815 w 413399"/>
                    <a:gd name="connsiteY5" fmla="*/ 469975 h 469974"/>
                    <a:gd name="connsiteX6" fmla="*/ 400921 w 413399"/>
                    <a:gd name="connsiteY6" fmla="*/ 469975 h 469974"/>
                    <a:gd name="connsiteX7" fmla="*/ 413400 w 413399"/>
                    <a:gd name="connsiteY7" fmla="*/ 429247 h 469974"/>
                    <a:gd name="connsiteX8" fmla="*/ 383314 w 413399"/>
                    <a:gd name="connsiteY8" fmla="*/ 339065 h 469974"/>
                    <a:gd name="connsiteX9" fmla="*/ 383620 w 413399"/>
                    <a:gd name="connsiteY9" fmla="*/ 268557 h 469974"/>
                    <a:gd name="connsiteX10" fmla="*/ 334088 w 413399"/>
                    <a:gd name="connsiteY10" fmla="*/ 266337 h 469974"/>
                    <a:gd name="connsiteX11" fmla="*/ 318318 w 413399"/>
                    <a:gd name="connsiteY11" fmla="*/ 197743 h 469974"/>
                    <a:gd name="connsiteX12" fmla="*/ 275523 w 413399"/>
                    <a:gd name="connsiteY12" fmla="*/ 159925 h 46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3399" h="469974">
                      <a:moveTo>
                        <a:pt x="275523" y="159925"/>
                      </a:moveTo>
                      <a:lnTo>
                        <a:pt x="211370" y="53436"/>
                      </a:lnTo>
                      <a:lnTo>
                        <a:pt x="91943" y="0"/>
                      </a:lnTo>
                      <a:lnTo>
                        <a:pt x="0" y="163523"/>
                      </a:lnTo>
                      <a:lnTo>
                        <a:pt x="109015" y="414625"/>
                      </a:lnTo>
                      <a:lnTo>
                        <a:pt x="230815" y="469975"/>
                      </a:lnTo>
                      <a:lnTo>
                        <a:pt x="400921" y="469975"/>
                      </a:lnTo>
                      <a:lnTo>
                        <a:pt x="413400" y="429247"/>
                      </a:lnTo>
                      <a:lnTo>
                        <a:pt x="383314" y="339065"/>
                      </a:lnTo>
                      <a:lnTo>
                        <a:pt x="383620" y="268557"/>
                      </a:lnTo>
                      <a:lnTo>
                        <a:pt x="334088" y="266337"/>
                      </a:lnTo>
                      <a:lnTo>
                        <a:pt x="318318" y="197743"/>
                      </a:lnTo>
                      <a:lnTo>
                        <a:pt x="275523" y="159925"/>
                      </a:lnTo>
                      <a:close/>
                    </a:path>
                  </a:pathLst>
                </a:custGeom>
                <a:noFill/>
                <a:ln w="12700" cap="rnd">
                  <a:solidFill>
                    <a:schemeClr val="bg1"/>
                  </a:solidFill>
                  <a:prstDash val="solid"/>
                  <a:round/>
                </a:ln>
              </p:spPr>
              <p:txBody>
                <a:bodyPr rtlCol="0" anchor="ctr"/>
                <a:lstStyle/>
                <a:p>
                  <a:endParaRPr lang="pt-BR"/>
                </a:p>
              </p:txBody>
            </p:sp>
            <p:sp>
              <p:nvSpPr>
                <p:cNvPr id="888" name="Forma Livre: Forma 887">
                  <a:extLst>
                    <a:ext uri="{FF2B5EF4-FFF2-40B4-BE49-F238E27FC236}">
                      <a16:creationId xmlns:a16="http://schemas.microsoft.com/office/drawing/2014/main" id="{53D2018A-C466-FE52-0F3D-5B404926A18F}"/>
                    </a:ext>
                  </a:extLst>
                </p:cNvPr>
                <p:cNvSpPr/>
                <p:nvPr/>
              </p:nvSpPr>
              <p:spPr>
                <a:xfrm>
                  <a:off x="1629609" y="4162780"/>
                  <a:ext cx="44708" cy="125780"/>
                </a:xfrm>
                <a:custGeom>
                  <a:avLst/>
                  <a:gdLst>
                    <a:gd name="connsiteX0" fmla="*/ 44708 w 44708"/>
                    <a:gd name="connsiteY0" fmla="*/ 0 h 125780"/>
                    <a:gd name="connsiteX1" fmla="*/ 0 w 44708"/>
                    <a:gd name="connsiteY1" fmla="*/ 125781 h 125780"/>
                  </a:gdLst>
                  <a:ahLst/>
                  <a:cxnLst>
                    <a:cxn ang="0">
                      <a:pos x="connsiteX0" y="connsiteY0"/>
                    </a:cxn>
                    <a:cxn ang="0">
                      <a:pos x="connsiteX1" y="connsiteY1"/>
                    </a:cxn>
                  </a:cxnLst>
                  <a:rect l="l" t="t" r="r" b="b"/>
                  <a:pathLst>
                    <a:path w="44708" h="125780">
                      <a:moveTo>
                        <a:pt x="44708" y="0"/>
                      </a:moveTo>
                      <a:lnTo>
                        <a:pt x="0" y="125781"/>
                      </a:lnTo>
                    </a:path>
                  </a:pathLst>
                </a:custGeom>
                <a:ln w="12700" cap="rnd">
                  <a:solidFill>
                    <a:schemeClr val="bg1"/>
                  </a:solidFill>
                  <a:prstDash val="solid"/>
                  <a:round/>
                </a:ln>
              </p:spPr>
              <p:txBody>
                <a:bodyPr rtlCol="0" anchor="ctr"/>
                <a:lstStyle/>
                <a:p>
                  <a:endParaRPr lang="pt-BR"/>
                </a:p>
              </p:txBody>
            </p:sp>
            <p:sp>
              <p:nvSpPr>
                <p:cNvPr id="889" name="Forma Livre: Forma 888">
                  <a:extLst>
                    <a:ext uri="{FF2B5EF4-FFF2-40B4-BE49-F238E27FC236}">
                      <a16:creationId xmlns:a16="http://schemas.microsoft.com/office/drawing/2014/main" id="{877AB620-8BCA-8351-5ABF-3064505A2CB4}"/>
                    </a:ext>
                  </a:extLst>
                </p:cNvPr>
                <p:cNvSpPr/>
                <p:nvPr/>
              </p:nvSpPr>
              <p:spPr>
                <a:xfrm>
                  <a:off x="1457741" y="3883751"/>
                  <a:ext cx="270803" cy="179660"/>
                </a:xfrm>
                <a:custGeom>
                  <a:avLst/>
                  <a:gdLst>
                    <a:gd name="connsiteX0" fmla="*/ 0 w 270803"/>
                    <a:gd name="connsiteY0" fmla="*/ 98435 h 179660"/>
                    <a:gd name="connsiteX1" fmla="*/ 64230 w 270803"/>
                    <a:gd name="connsiteY1" fmla="*/ 18970 h 179660"/>
                    <a:gd name="connsiteX2" fmla="*/ 113302 w 270803"/>
                    <a:gd name="connsiteY2" fmla="*/ 2817 h 179660"/>
                    <a:gd name="connsiteX3" fmla="*/ 245207 w 270803"/>
                    <a:gd name="connsiteY3" fmla="*/ 70568 h 179660"/>
                    <a:gd name="connsiteX4" fmla="*/ 268633 w 270803"/>
                    <a:gd name="connsiteY4" fmla="*/ 121172 h 179660"/>
                    <a:gd name="connsiteX5" fmla="*/ 251944 w 270803"/>
                    <a:gd name="connsiteY5" fmla="*/ 179660 h 17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803" h="179660">
                      <a:moveTo>
                        <a:pt x="0" y="98435"/>
                      </a:moveTo>
                      <a:lnTo>
                        <a:pt x="64230" y="18970"/>
                      </a:lnTo>
                      <a:cubicBezTo>
                        <a:pt x="74565" y="2434"/>
                        <a:pt x="95159" y="-4303"/>
                        <a:pt x="113302" y="2817"/>
                      </a:cubicBezTo>
                      <a:lnTo>
                        <a:pt x="245207" y="70568"/>
                      </a:lnTo>
                      <a:cubicBezTo>
                        <a:pt x="265265" y="78454"/>
                        <a:pt x="275600" y="100808"/>
                        <a:pt x="268633" y="121172"/>
                      </a:cubicBezTo>
                      <a:lnTo>
                        <a:pt x="251944" y="179660"/>
                      </a:lnTo>
                    </a:path>
                  </a:pathLst>
                </a:custGeom>
                <a:noFill/>
                <a:ln w="12700" cap="rnd">
                  <a:solidFill>
                    <a:schemeClr val="bg1"/>
                  </a:solidFill>
                  <a:prstDash val="solid"/>
                  <a:round/>
                </a:ln>
              </p:spPr>
              <p:txBody>
                <a:bodyPr rtlCol="0" anchor="ctr"/>
                <a:lstStyle/>
                <a:p>
                  <a:endParaRPr lang="pt-BR"/>
                </a:p>
              </p:txBody>
            </p:sp>
            <p:sp>
              <p:nvSpPr>
                <p:cNvPr id="890" name="Forma Livre: Forma 889">
                  <a:extLst>
                    <a:ext uri="{FF2B5EF4-FFF2-40B4-BE49-F238E27FC236}">
                      <a16:creationId xmlns:a16="http://schemas.microsoft.com/office/drawing/2014/main" id="{C8EC0022-D3A1-9760-6BF7-B58968942E04}"/>
                    </a:ext>
                  </a:extLst>
                </p:cNvPr>
                <p:cNvSpPr/>
                <p:nvPr/>
              </p:nvSpPr>
              <p:spPr>
                <a:xfrm>
                  <a:off x="1226926" y="4025440"/>
                  <a:ext cx="166278" cy="35904"/>
                </a:xfrm>
                <a:custGeom>
                  <a:avLst/>
                  <a:gdLst>
                    <a:gd name="connsiteX0" fmla="*/ 0 w 166278"/>
                    <a:gd name="connsiteY0" fmla="*/ 34527 h 35904"/>
                    <a:gd name="connsiteX1" fmla="*/ 85513 w 166278"/>
                    <a:gd name="connsiteY1" fmla="*/ 35905 h 35904"/>
                    <a:gd name="connsiteX2" fmla="*/ 166279 w 166278"/>
                    <a:gd name="connsiteY2" fmla="*/ 0 h 35904"/>
                  </a:gdLst>
                  <a:ahLst/>
                  <a:cxnLst>
                    <a:cxn ang="0">
                      <a:pos x="connsiteX0" y="connsiteY0"/>
                    </a:cxn>
                    <a:cxn ang="0">
                      <a:pos x="connsiteX1" y="connsiteY1"/>
                    </a:cxn>
                    <a:cxn ang="0">
                      <a:pos x="connsiteX2" y="connsiteY2"/>
                    </a:cxn>
                  </a:cxnLst>
                  <a:rect l="l" t="t" r="r" b="b"/>
                  <a:pathLst>
                    <a:path w="166278" h="35904">
                      <a:moveTo>
                        <a:pt x="0" y="34527"/>
                      </a:moveTo>
                      <a:lnTo>
                        <a:pt x="85513" y="35905"/>
                      </a:lnTo>
                      <a:lnTo>
                        <a:pt x="166279" y="0"/>
                      </a:lnTo>
                    </a:path>
                  </a:pathLst>
                </a:custGeom>
                <a:noFill/>
                <a:ln w="12700" cap="rnd">
                  <a:solidFill>
                    <a:schemeClr val="bg1"/>
                  </a:solidFill>
                  <a:prstDash val="solid"/>
                  <a:round/>
                </a:ln>
              </p:spPr>
              <p:txBody>
                <a:bodyPr rtlCol="0" anchor="ctr"/>
                <a:lstStyle/>
                <a:p>
                  <a:endParaRPr lang="pt-BR"/>
                </a:p>
              </p:txBody>
            </p:sp>
            <p:sp>
              <p:nvSpPr>
                <p:cNvPr id="891" name="Forma Livre: Forma 890">
                  <a:extLst>
                    <a:ext uri="{FF2B5EF4-FFF2-40B4-BE49-F238E27FC236}">
                      <a16:creationId xmlns:a16="http://schemas.microsoft.com/office/drawing/2014/main" id="{1E66E25B-832F-A607-7B45-9200A2789648}"/>
                    </a:ext>
                  </a:extLst>
                </p:cNvPr>
                <p:cNvSpPr/>
                <p:nvPr/>
              </p:nvSpPr>
              <p:spPr>
                <a:xfrm>
                  <a:off x="1335941" y="4255260"/>
                  <a:ext cx="137799" cy="55808"/>
                </a:xfrm>
                <a:custGeom>
                  <a:avLst/>
                  <a:gdLst>
                    <a:gd name="connsiteX0" fmla="*/ 0 w 137799"/>
                    <a:gd name="connsiteY0" fmla="*/ 55809 h 55808"/>
                    <a:gd name="connsiteX1" fmla="*/ 58718 w 137799"/>
                    <a:gd name="connsiteY1" fmla="*/ 0 h 55808"/>
                    <a:gd name="connsiteX2" fmla="*/ 137800 w 137799"/>
                    <a:gd name="connsiteY2" fmla="*/ 33455 h 55808"/>
                  </a:gdLst>
                  <a:ahLst/>
                  <a:cxnLst>
                    <a:cxn ang="0">
                      <a:pos x="connsiteX0" y="connsiteY0"/>
                    </a:cxn>
                    <a:cxn ang="0">
                      <a:pos x="connsiteX1" y="connsiteY1"/>
                    </a:cxn>
                    <a:cxn ang="0">
                      <a:pos x="connsiteX2" y="connsiteY2"/>
                    </a:cxn>
                  </a:cxnLst>
                  <a:rect l="l" t="t" r="r" b="b"/>
                  <a:pathLst>
                    <a:path w="137799" h="55808">
                      <a:moveTo>
                        <a:pt x="0" y="55809"/>
                      </a:moveTo>
                      <a:lnTo>
                        <a:pt x="58718" y="0"/>
                      </a:lnTo>
                      <a:lnTo>
                        <a:pt x="137800" y="33455"/>
                      </a:lnTo>
                    </a:path>
                  </a:pathLst>
                </a:custGeom>
                <a:noFill/>
                <a:ln w="12700" cap="rnd">
                  <a:solidFill>
                    <a:schemeClr val="bg1"/>
                  </a:solidFill>
                  <a:prstDash val="solid"/>
                  <a:round/>
                </a:ln>
              </p:spPr>
              <p:txBody>
                <a:bodyPr rtlCol="0" anchor="ctr"/>
                <a:lstStyle/>
                <a:p>
                  <a:endParaRPr lang="pt-BR"/>
                </a:p>
              </p:txBody>
            </p:sp>
            <p:sp>
              <p:nvSpPr>
                <p:cNvPr id="892" name="Forma Livre: Forma 891">
                  <a:extLst>
                    <a:ext uri="{FF2B5EF4-FFF2-40B4-BE49-F238E27FC236}">
                      <a16:creationId xmlns:a16="http://schemas.microsoft.com/office/drawing/2014/main" id="{3D629A1C-7D43-F8BA-F522-E8C0CE72C981}"/>
                    </a:ext>
                  </a:extLst>
                </p:cNvPr>
                <p:cNvSpPr/>
                <p:nvPr/>
              </p:nvSpPr>
              <p:spPr>
                <a:xfrm>
                  <a:off x="1583752" y="4327528"/>
                  <a:ext cx="44095" cy="38890"/>
                </a:xfrm>
                <a:custGeom>
                  <a:avLst/>
                  <a:gdLst>
                    <a:gd name="connsiteX0" fmla="*/ 44096 w 44095"/>
                    <a:gd name="connsiteY0" fmla="*/ 38890 h 38890"/>
                    <a:gd name="connsiteX1" fmla="*/ 0 w 44095"/>
                    <a:gd name="connsiteY1" fmla="*/ 0 h 38890"/>
                  </a:gdLst>
                  <a:ahLst/>
                  <a:cxnLst>
                    <a:cxn ang="0">
                      <a:pos x="connsiteX0" y="connsiteY0"/>
                    </a:cxn>
                    <a:cxn ang="0">
                      <a:pos x="connsiteX1" y="connsiteY1"/>
                    </a:cxn>
                  </a:cxnLst>
                  <a:rect l="l" t="t" r="r" b="b"/>
                  <a:pathLst>
                    <a:path w="44095" h="38890">
                      <a:moveTo>
                        <a:pt x="44096" y="38890"/>
                      </a:moveTo>
                      <a:lnTo>
                        <a:pt x="0" y="0"/>
                      </a:lnTo>
                    </a:path>
                  </a:pathLst>
                </a:custGeom>
                <a:ln w="12700" cap="rnd">
                  <a:solidFill>
                    <a:schemeClr val="bg1"/>
                  </a:solidFill>
                  <a:prstDash val="solid"/>
                  <a:round/>
                </a:ln>
              </p:spPr>
              <p:txBody>
                <a:bodyPr rtlCol="0" anchor="ctr"/>
                <a:lstStyle/>
                <a:p>
                  <a:endParaRPr lang="pt-BR"/>
                </a:p>
              </p:txBody>
            </p:sp>
            <p:sp>
              <p:nvSpPr>
                <p:cNvPr id="893" name="Forma Livre: Forma 892">
                  <a:extLst>
                    <a:ext uri="{FF2B5EF4-FFF2-40B4-BE49-F238E27FC236}">
                      <a16:creationId xmlns:a16="http://schemas.microsoft.com/office/drawing/2014/main" id="{30A36DBC-9D90-F4F2-04A2-16D056D07191}"/>
                    </a:ext>
                  </a:extLst>
                </p:cNvPr>
                <p:cNvSpPr/>
                <p:nvPr/>
              </p:nvSpPr>
              <p:spPr>
                <a:xfrm>
                  <a:off x="1580843" y="3792328"/>
                  <a:ext cx="79005" cy="79005"/>
                </a:xfrm>
                <a:custGeom>
                  <a:avLst/>
                  <a:gdLst>
                    <a:gd name="connsiteX0" fmla="*/ 39503 w 79005"/>
                    <a:gd name="connsiteY0" fmla="*/ 79005 h 79005"/>
                    <a:gd name="connsiteX1" fmla="*/ 0 w 79005"/>
                    <a:gd name="connsiteY1" fmla="*/ 39503 h 79005"/>
                    <a:gd name="connsiteX2" fmla="*/ 39503 w 79005"/>
                    <a:gd name="connsiteY2" fmla="*/ 0 h 79005"/>
                    <a:gd name="connsiteX3" fmla="*/ 79005 w 79005"/>
                    <a:gd name="connsiteY3" fmla="*/ 39503 h 79005"/>
                    <a:gd name="connsiteX4" fmla="*/ 39503 w 79005"/>
                    <a:gd name="connsiteY4" fmla="*/ 79005 h 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05" h="79005">
                      <a:moveTo>
                        <a:pt x="39503" y="79005"/>
                      </a:moveTo>
                      <a:cubicBezTo>
                        <a:pt x="33684" y="61168"/>
                        <a:pt x="17761" y="45321"/>
                        <a:pt x="0" y="39503"/>
                      </a:cubicBezTo>
                      <a:cubicBezTo>
                        <a:pt x="17837" y="33684"/>
                        <a:pt x="33684" y="17761"/>
                        <a:pt x="39503" y="0"/>
                      </a:cubicBezTo>
                      <a:cubicBezTo>
                        <a:pt x="45321" y="17761"/>
                        <a:pt x="61244" y="33684"/>
                        <a:pt x="79005" y="39503"/>
                      </a:cubicBezTo>
                      <a:cubicBezTo>
                        <a:pt x="61168" y="45321"/>
                        <a:pt x="45321" y="61244"/>
                        <a:pt x="39503" y="79005"/>
                      </a:cubicBezTo>
                      <a:close/>
                    </a:path>
                  </a:pathLst>
                </a:custGeom>
                <a:noFill/>
                <a:ln w="12700" cap="rnd">
                  <a:solidFill>
                    <a:schemeClr val="bg1"/>
                  </a:solidFill>
                  <a:prstDash val="solid"/>
                  <a:round/>
                </a:ln>
              </p:spPr>
              <p:txBody>
                <a:bodyPr rtlCol="0" anchor="ctr"/>
                <a:lstStyle/>
                <a:p>
                  <a:endParaRPr lang="pt-BR"/>
                </a:p>
              </p:txBody>
            </p:sp>
            <p:sp>
              <p:nvSpPr>
                <p:cNvPr id="894" name="Forma Livre: Forma 893">
                  <a:extLst>
                    <a:ext uri="{FF2B5EF4-FFF2-40B4-BE49-F238E27FC236}">
                      <a16:creationId xmlns:a16="http://schemas.microsoft.com/office/drawing/2014/main" id="{DBBD6790-7351-8ACE-5A0F-59438871849E}"/>
                    </a:ext>
                  </a:extLst>
                </p:cNvPr>
                <p:cNvSpPr/>
                <p:nvPr/>
              </p:nvSpPr>
              <p:spPr>
                <a:xfrm>
                  <a:off x="1662757" y="4082321"/>
                  <a:ext cx="62316" cy="62316"/>
                </a:xfrm>
                <a:custGeom>
                  <a:avLst/>
                  <a:gdLst>
                    <a:gd name="connsiteX0" fmla="*/ 31158 w 62316"/>
                    <a:gd name="connsiteY0" fmla="*/ 62316 h 62316"/>
                    <a:gd name="connsiteX1" fmla="*/ 0 w 62316"/>
                    <a:gd name="connsiteY1" fmla="*/ 31158 h 62316"/>
                    <a:gd name="connsiteX2" fmla="*/ 31158 w 62316"/>
                    <a:gd name="connsiteY2" fmla="*/ 0 h 62316"/>
                    <a:gd name="connsiteX3" fmla="*/ 62316 w 62316"/>
                    <a:gd name="connsiteY3" fmla="*/ 31158 h 62316"/>
                    <a:gd name="connsiteX4" fmla="*/ 31158 w 62316"/>
                    <a:gd name="connsiteY4" fmla="*/ 62316 h 62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316" h="62316">
                      <a:moveTo>
                        <a:pt x="31158" y="62316"/>
                      </a:moveTo>
                      <a:cubicBezTo>
                        <a:pt x="26565" y="48307"/>
                        <a:pt x="14010" y="35751"/>
                        <a:pt x="0" y="31158"/>
                      </a:cubicBezTo>
                      <a:cubicBezTo>
                        <a:pt x="14010" y="26565"/>
                        <a:pt x="26565" y="14010"/>
                        <a:pt x="31158" y="0"/>
                      </a:cubicBezTo>
                      <a:cubicBezTo>
                        <a:pt x="35751" y="14010"/>
                        <a:pt x="48307" y="26565"/>
                        <a:pt x="62316" y="31158"/>
                      </a:cubicBezTo>
                      <a:cubicBezTo>
                        <a:pt x="48307" y="35751"/>
                        <a:pt x="35751" y="48307"/>
                        <a:pt x="31158" y="62316"/>
                      </a:cubicBezTo>
                      <a:close/>
                    </a:path>
                  </a:pathLst>
                </a:custGeom>
                <a:noFill/>
                <a:ln w="12700" cap="rnd">
                  <a:solidFill>
                    <a:schemeClr val="bg1"/>
                  </a:solidFill>
                  <a:prstDash val="solid"/>
                  <a:round/>
                </a:ln>
              </p:spPr>
              <p:txBody>
                <a:bodyPr rtlCol="0" anchor="ctr"/>
                <a:lstStyle/>
                <a:p>
                  <a:endParaRPr lang="pt-BR"/>
                </a:p>
              </p:txBody>
            </p:sp>
            <p:sp>
              <p:nvSpPr>
                <p:cNvPr id="895" name="Forma Livre: Forma 894">
                  <a:extLst>
                    <a:ext uri="{FF2B5EF4-FFF2-40B4-BE49-F238E27FC236}">
                      <a16:creationId xmlns:a16="http://schemas.microsoft.com/office/drawing/2014/main" id="{E9D58A78-AA67-BCE0-92B8-A03DA71F9501}"/>
                    </a:ext>
                  </a:extLst>
                </p:cNvPr>
                <p:cNvSpPr/>
                <p:nvPr/>
              </p:nvSpPr>
              <p:spPr>
                <a:xfrm>
                  <a:off x="1560020" y="3971391"/>
                  <a:ext cx="7655" cy="47464"/>
                </a:xfrm>
                <a:custGeom>
                  <a:avLst/>
                  <a:gdLst>
                    <a:gd name="connsiteX0" fmla="*/ 0 w 7655"/>
                    <a:gd name="connsiteY0" fmla="*/ 0 h 47464"/>
                    <a:gd name="connsiteX1" fmla="*/ 0 w 7655"/>
                    <a:gd name="connsiteY1" fmla="*/ 47464 h 47464"/>
                  </a:gdLst>
                  <a:ahLst/>
                  <a:cxnLst>
                    <a:cxn ang="0">
                      <a:pos x="connsiteX0" y="connsiteY0"/>
                    </a:cxn>
                    <a:cxn ang="0">
                      <a:pos x="connsiteX1" y="connsiteY1"/>
                    </a:cxn>
                  </a:cxnLst>
                  <a:rect l="l" t="t" r="r" b="b"/>
                  <a:pathLst>
                    <a:path w="7655" h="47464">
                      <a:moveTo>
                        <a:pt x="0" y="0"/>
                      </a:moveTo>
                      <a:lnTo>
                        <a:pt x="0" y="47464"/>
                      </a:lnTo>
                    </a:path>
                  </a:pathLst>
                </a:custGeom>
                <a:ln w="12700" cap="rnd">
                  <a:solidFill>
                    <a:schemeClr val="bg1"/>
                  </a:solidFill>
                  <a:prstDash val="solid"/>
                  <a:round/>
                </a:ln>
              </p:spPr>
              <p:txBody>
                <a:bodyPr rtlCol="0" anchor="ctr"/>
                <a:lstStyle/>
                <a:p>
                  <a:endParaRPr lang="pt-BR"/>
                </a:p>
              </p:txBody>
            </p:sp>
            <p:sp>
              <p:nvSpPr>
                <p:cNvPr id="896" name="Forma Livre: Forma 895">
                  <a:extLst>
                    <a:ext uri="{FF2B5EF4-FFF2-40B4-BE49-F238E27FC236}">
                      <a16:creationId xmlns:a16="http://schemas.microsoft.com/office/drawing/2014/main" id="{E149AFDC-6E1A-BB33-EC93-C3C97033DB10}"/>
                    </a:ext>
                  </a:extLst>
                </p:cNvPr>
                <p:cNvSpPr/>
                <p:nvPr/>
              </p:nvSpPr>
              <p:spPr>
                <a:xfrm>
                  <a:off x="1536287" y="3995124"/>
                  <a:ext cx="47464" cy="7655"/>
                </a:xfrm>
                <a:custGeom>
                  <a:avLst/>
                  <a:gdLst>
                    <a:gd name="connsiteX0" fmla="*/ 0 w 47464"/>
                    <a:gd name="connsiteY0" fmla="*/ 0 h 7655"/>
                    <a:gd name="connsiteX1" fmla="*/ 47464 w 47464"/>
                    <a:gd name="connsiteY1" fmla="*/ 0 h 7655"/>
                  </a:gdLst>
                  <a:ahLst/>
                  <a:cxnLst>
                    <a:cxn ang="0">
                      <a:pos x="connsiteX0" y="connsiteY0"/>
                    </a:cxn>
                    <a:cxn ang="0">
                      <a:pos x="connsiteX1" y="connsiteY1"/>
                    </a:cxn>
                  </a:cxnLst>
                  <a:rect l="l" t="t" r="r" b="b"/>
                  <a:pathLst>
                    <a:path w="47464" h="7655">
                      <a:moveTo>
                        <a:pt x="0" y="0"/>
                      </a:moveTo>
                      <a:lnTo>
                        <a:pt x="47464" y="0"/>
                      </a:lnTo>
                    </a:path>
                  </a:pathLst>
                </a:custGeom>
                <a:ln w="12700" cap="rnd">
                  <a:solidFill>
                    <a:schemeClr val="bg1"/>
                  </a:solidFill>
                  <a:prstDash val="solid"/>
                  <a:round/>
                </a:ln>
              </p:spPr>
              <p:txBody>
                <a:bodyPr rtlCol="0" anchor="ctr"/>
                <a:lstStyle/>
                <a:p>
                  <a:endParaRPr lang="pt-BR"/>
                </a:p>
              </p:txBody>
            </p:sp>
            <p:sp>
              <p:nvSpPr>
                <p:cNvPr id="897" name="Forma Livre: Forma 896">
                  <a:extLst>
                    <a:ext uri="{FF2B5EF4-FFF2-40B4-BE49-F238E27FC236}">
                      <a16:creationId xmlns:a16="http://schemas.microsoft.com/office/drawing/2014/main" id="{6D33EF26-3BBE-6291-1EF2-40E50D933337}"/>
                    </a:ext>
                  </a:extLst>
                </p:cNvPr>
                <p:cNvSpPr/>
                <p:nvPr/>
              </p:nvSpPr>
              <p:spPr>
                <a:xfrm>
                  <a:off x="1560020" y="4162780"/>
                  <a:ext cx="995" cy="52134"/>
                </a:xfrm>
                <a:custGeom>
                  <a:avLst/>
                  <a:gdLst>
                    <a:gd name="connsiteX0" fmla="*/ 995 w 995"/>
                    <a:gd name="connsiteY0" fmla="*/ 0 h 52134"/>
                    <a:gd name="connsiteX1" fmla="*/ 0 w 995"/>
                    <a:gd name="connsiteY1" fmla="*/ 52134 h 52134"/>
                  </a:gdLst>
                  <a:ahLst/>
                  <a:cxnLst>
                    <a:cxn ang="0">
                      <a:pos x="connsiteX0" y="connsiteY0"/>
                    </a:cxn>
                    <a:cxn ang="0">
                      <a:pos x="connsiteX1" y="connsiteY1"/>
                    </a:cxn>
                  </a:cxnLst>
                  <a:rect l="l" t="t" r="r" b="b"/>
                  <a:pathLst>
                    <a:path w="995" h="52134">
                      <a:moveTo>
                        <a:pt x="995" y="0"/>
                      </a:moveTo>
                      <a:lnTo>
                        <a:pt x="0" y="52134"/>
                      </a:lnTo>
                    </a:path>
                  </a:pathLst>
                </a:custGeom>
                <a:ln w="12700" cap="rnd">
                  <a:solidFill>
                    <a:schemeClr val="bg1"/>
                  </a:solidFill>
                  <a:prstDash val="solid"/>
                  <a:round/>
                </a:ln>
              </p:spPr>
              <p:txBody>
                <a:bodyPr rtlCol="0" anchor="ctr"/>
                <a:lstStyle/>
                <a:p>
                  <a:endParaRPr lang="pt-BR"/>
                </a:p>
              </p:txBody>
            </p:sp>
            <p:sp>
              <p:nvSpPr>
                <p:cNvPr id="898" name="Forma Livre: Forma 897">
                  <a:extLst>
                    <a:ext uri="{FF2B5EF4-FFF2-40B4-BE49-F238E27FC236}">
                      <a16:creationId xmlns:a16="http://schemas.microsoft.com/office/drawing/2014/main" id="{502F6606-F3F2-9D83-C555-3E796A7347BC}"/>
                    </a:ext>
                  </a:extLst>
                </p:cNvPr>
                <p:cNvSpPr/>
                <p:nvPr/>
              </p:nvSpPr>
              <p:spPr>
                <a:xfrm>
                  <a:off x="1388305" y="4056368"/>
                  <a:ext cx="114144" cy="141551"/>
                </a:xfrm>
                <a:custGeom>
                  <a:avLst/>
                  <a:gdLst>
                    <a:gd name="connsiteX0" fmla="*/ 114144 w 114144"/>
                    <a:gd name="connsiteY0" fmla="*/ 0 h 141551"/>
                    <a:gd name="connsiteX1" fmla="*/ 51369 w 114144"/>
                    <a:gd name="connsiteY1" fmla="*/ 44096 h 141551"/>
                    <a:gd name="connsiteX2" fmla="*/ 45091 w 114144"/>
                    <a:gd name="connsiteY2" fmla="*/ 120575 h 141551"/>
                    <a:gd name="connsiteX3" fmla="*/ 0 w 114144"/>
                    <a:gd name="connsiteY3" fmla="*/ 141551 h 141551"/>
                  </a:gdLst>
                  <a:ahLst/>
                  <a:cxnLst>
                    <a:cxn ang="0">
                      <a:pos x="connsiteX0" y="connsiteY0"/>
                    </a:cxn>
                    <a:cxn ang="0">
                      <a:pos x="connsiteX1" y="connsiteY1"/>
                    </a:cxn>
                    <a:cxn ang="0">
                      <a:pos x="connsiteX2" y="connsiteY2"/>
                    </a:cxn>
                    <a:cxn ang="0">
                      <a:pos x="connsiteX3" y="connsiteY3"/>
                    </a:cxn>
                  </a:cxnLst>
                  <a:rect l="l" t="t" r="r" b="b"/>
                  <a:pathLst>
                    <a:path w="114144" h="141551">
                      <a:moveTo>
                        <a:pt x="114144" y="0"/>
                      </a:moveTo>
                      <a:lnTo>
                        <a:pt x="51369" y="44096"/>
                      </a:lnTo>
                      <a:lnTo>
                        <a:pt x="45091" y="120575"/>
                      </a:lnTo>
                      <a:lnTo>
                        <a:pt x="0" y="141551"/>
                      </a:lnTo>
                    </a:path>
                  </a:pathLst>
                </a:custGeom>
                <a:noFill/>
                <a:ln w="12700" cap="rnd">
                  <a:solidFill>
                    <a:schemeClr val="bg1"/>
                  </a:solidFill>
                  <a:prstDash val="solid"/>
                  <a:round/>
                </a:ln>
              </p:spPr>
              <p:txBody>
                <a:bodyPr rtlCol="0" anchor="ctr"/>
                <a:lstStyle/>
                <a:p>
                  <a:endParaRPr lang="pt-BR"/>
                </a:p>
              </p:txBody>
            </p:sp>
            <p:sp>
              <p:nvSpPr>
                <p:cNvPr id="899" name="Forma Livre: Forma 898">
                  <a:extLst>
                    <a:ext uri="{FF2B5EF4-FFF2-40B4-BE49-F238E27FC236}">
                      <a16:creationId xmlns:a16="http://schemas.microsoft.com/office/drawing/2014/main" id="{BBB5DFA3-8CDE-9D34-A6C0-8EAC5A133732}"/>
                    </a:ext>
                  </a:extLst>
                </p:cNvPr>
                <p:cNvSpPr/>
                <p:nvPr/>
              </p:nvSpPr>
              <p:spPr>
                <a:xfrm>
                  <a:off x="1392439" y="4100464"/>
                  <a:ext cx="47234" cy="7655"/>
                </a:xfrm>
                <a:custGeom>
                  <a:avLst/>
                  <a:gdLst>
                    <a:gd name="connsiteX0" fmla="*/ 47235 w 47234"/>
                    <a:gd name="connsiteY0" fmla="*/ 0 h 7655"/>
                    <a:gd name="connsiteX1" fmla="*/ 0 w 47234"/>
                    <a:gd name="connsiteY1" fmla="*/ 7656 h 7655"/>
                  </a:gdLst>
                  <a:ahLst/>
                  <a:cxnLst>
                    <a:cxn ang="0">
                      <a:pos x="connsiteX0" y="connsiteY0"/>
                    </a:cxn>
                    <a:cxn ang="0">
                      <a:pos x="connsiteX1" y="connsiteY1"/>
                    </a:cxn>
                  </a:cxnLst>
                  <a:rect l="l" t="t" r="r" b="b"/>
                  <a:pathLst>
                    <a:path w="47234" h="7655">
                      <a:moveTo>
                        <a:pt x="47235" y="0"/>
                      </a:moveTo>
                      <a:lnTo>
                        <a:pt x="0" y="7656"/>
                      </a:lnTo>
                    </a:path>
                  </a:pathLst>
                </a:custGeom>
                <a:ln w="12700" cap="rnd">
                  <a:solidFill>
                    <a:schemeClr val="bg1"/>
                  </a:solidFill>
                  <a:prstDash val="solid"/>
                  <a:round/>
                </a:ln>
              </p:spPr>
              <p:txBody>
                <a:bodyPr rtlCol="0" anchor="ctr"/>
                <a:lstStyle/>
                <a:p>
                  <a:endParaRPr lang="pt-BR"/>
                </a:p>
              </p:txBody>
            </p:sp>
            <p:sp>
              <p:nvSpPr>
                <p:cNvPr id="900" name="Forma Livre: Forma 899">
                  <a:extLst>
                    <a:ext uri="{FF2B5EF4-FFF2-40B4-BE49-F238E27FC236}">
                      <a16:creationId xmlns:a16="http://schemas.microsoft.com/office/drawing/2014/main" id="{9960A907-695F-D067-52A5-75E27BD24F54}"/>
                    </a:ext>
                  </a:extLst>
                </p:cNvPr>
                <p:cNvSpPr/>
                <p:nvPr/>
              </p:nvSpPr>
              <p:spPr>
                <a:xfrm>
                  <a:off x="1331118" y="4135374"/>
                  <a:ext cx="33071" cy="37741"/>
                </a:xfrm>
                <a:custGeom>
                  <a:avLst/>
                  <a:gdLst>
                    <a:gd name="connsiteX0" fmla="*/ 33072 w 33071"/>
                    <a:gd name="connsiteY0" fmla="*/ 0 h 37741"/>
                    <a:gd name="connsiteX1" fmla="*/ 0 w 33071"/>
                    <a:gd name="connsiteY1" fmla="*/ 37742 h 37741"/>
                  </a:gdLst>
                  <a:ahLst/>
                  <a:cxnLst>
                    <a:cxn ang="0">
                      <a:pos x="connsiteX0" y="connsiteY0"/>
                    </a:cxn>
                    <a:cxn ang="0">
                      <a:pos x="connsiteX1" y="connsiteY1"/>
                    </a:cxn>
                  </a:cxnLst>
                  <a:rect l="l" t="t" r="r" b="b"/>
                  <a:pathLst>
                    <a:path w="33071" h="37741">
                      <a:moveTo>
                        <a:pt x="33072" y="0"/>
                      </a:moveTo>
                      <a:lnTo>
                        <a:pt x="0" y="37742"/>
                      </a:lnTo>
                    </a:path>
                  </a:pathLst>
                </a:custGeom>
                <a:ln w="12700" cap="rnd">
                  <a:solidFill>
                    <a:schemeClr val="bg1"/>
                  </a:solidFill>
                  <a:prstDash val="solid"/>
                  <a:round/>
                </a:ln>
              </p:spPr>
              <p:txBody>
                <a:bodyPr rtlCol="0" anchor="ctr"/>
                <a:lstStyle/>
                <a:p>
                  <a:endParaRPr lang="pt-BR"/>
                </a:p>
              </p:txBody>
            </p:sp>
            <p:sp>
              <p:nvSpPr>
                <p:cNvPr id="901" name="Forma Livre: Forma 900">
                  <a:extLst>
                    <a:ext uri="{FF2B5EF4-FFF2-40B4-BE49-F238E27FC236}">
                      <a16:creationId xmlns:a16="http://schemas.microsoft.com/office/drawing/2014/main" id="{6281BEEF-015B-B6B4-AFB8-5EA4B59D1CA9}"/>
                    </a:ext>
                  </a:extLst>
                </p:cNvPr>
                <p:cNvSpPr/>
                <p:nvPr/>
              </p:nvSpPr>
              <p:spPr>
                <a:xfrm>
                  <a:off x="1750566" y="3904941"/>
                  <a:ext cx="7655" cy="44019"/>
                </a:xfrm>
                <a:custGeom>
                  <a:avLst/>
                  <a:gdLst>
                    <a:gd name="connsiteX0" fmla="*/ 0 w 7655"/>
                    <a:gd name="connsiteY0" fmla="*/ 0 h 44019"/>
                    <a:gd name="connsiteX1" fmla="*/ 0 w 7655"/>
                    <a:gd name="connsiteY1" fmla="*/ 44019 h 44019"/>
                  </a:gdLst>
                  <a:ahLst/>
                  <a:cxnLst>
                    <a:cxn ang="0">
                      <a:pos x="connsiteX0" y="connsiteY0"/>
                    </a:cxn>
                    <a:cxn ang="0">
                      <a:pos x="connsiteX1" y="connsiteY1"/>
                    </a:cxn>
                  </a:cxnLst>
                  <a:rect l="l" t="t" r="r" b="b"/>
                  <a:pathLst>
                    <a:path w="7655" h="44019">
                      <a:moveTo>
                        <a:pt x="0" y="0"/>
                      </a:moveTo>
                      <a:lnTo>
                        <a:pt x="0" y="44019"/>
                      </a:lnTo>
                    </a:path>
                  </a:pathLst>
                </a:custGeom>
                <a:ln w="12700" cap="rnd">
                  <a:solidFill>
                    <a:schemeClr val="bg1"/>
                  </a:solidFill>
                  <a:prstDash val="solid"/>
                  <a:round/>
                </a:ln>
              </p:spPr>
              <p:txBody>
                <a:bodyPr rtlCol="0" anchor="ctr"/>
                <a:lstStyle/>
                <a:p>
                  <a:endParaRPr lang="pt-BR"/>
                </a:p>
              </p:txBody>
            </p:sp>
            <p:sp>
              <p:nvSpPr>
                <p:cNvPr id="902" name="Forma Livre: Forma 901">
                  <a:extLst>
                    <a:ext uri="{FF2B5EF4-FFF2-40B4-BE49-F238E27FC236}">
                      <a16:creationId xmlns:a16="http://schemas.microsoft.com/office/drawing/2014/main" id="{BFB8EE6D-B87F-4886-384D-101C52B6C3DD}"/>
                    </a:ext>
                  </a:extLst>
                </p:cNvPr>
                <p:cNvSpPr/>
                <p:nvPr/>
              </p:nvSpPr>
              <p:spPr>
                <a:xfrm>
                  <a:off x="1728595" y="3926989"/>
                  <a:ext cx="44019" cy="7655"/>
                </a:xfrm>
                <a:custGeom>
                  <a:avLst/>
                  <a:gdLst>
                    <a:gd name="connsiteX0" fmla="*/ 0 w 44019"/>
                    <a:gd name="connsiteY0" fmla="*/ 0 h 7655"/>
                    <a:gd name="connsiteX1" fmla="*/ 44019 w 44019"/>
                    <a:gd name="connsiteY1" fmla="*/ 0 h 7655"/>
                  </a:gdLst>
                  <a:ahLst/>
                  <a:cxnLst>
                    <a:cxn ang="0">
                      <a:pos x="connsiteX0" y="connsiteY0"/>
                    </a:cxn>
                    <a:cxn ang="0">
                      <a:pos x="connsiteX1" y="connsiteY1"/>
                    </a:cxn>
                  </a:cxnLst>
                  <a:rect l="l" t="t" r="r" b="b"/>
                  <a:pathLst>
                    <a:path w="44019" h="7655">
                      <a:moveTo>
                        <a:pt x="0" y="0"/>
                      </a:moveTo>
                      <a:lnTo>
                        <a:pt x="44019" y="0"/>
                      </a:lnTo>
                    </a:path>
                  </a:pathLst>
                </a:custGeom>
                <a:ln w="12700" cap="rnd">
                  <a:solidFill>
                    <a:schemeClr val="bg1"/>
                  </a:solidFill>
                  <a:prstDash val="solid"/>
                  <a:round/>
                </a:ln>
              </p:spPr>
              <p:txBody>
                <a:bodyPr rtlCol="0" anchor="ctr"/>
                <a:lstStyle/>
                <a:p>
                  <a:endParaRPr lang="pt-BR"/>
                </a:p>
              </p:txBody>
            </p:sp>
          </p:grpSp>
          <p:cxnSp>
            <p:nvCxnSpPr>
              <p:cNvPr id="886" name="Conector reto 885">
                <a:extLst>
                  <a:ext uri="{FF2B5EF4-FFF2-40B4-BE49-F238E27FC236}">
                    <a16:creationId xmlns:a16="http://schemas.microsoft.com/office/drawing/2014/main" id="{BF238A0C-47FF-8563-3C7F-457CD39C769A}"/>
                  </a:ext>
                </a:extLst>
              </p:cNvPr>
              <p:cNvCxnSpPr>
                <a:cxnSpLocks/>
              </p:cNvCxnSpPr>
              <p:nvPr/>
            </p:nvCxnSpPr>
            <p:spPr>
              <a:xfrm>
                <a:off x="1278862" y="4436688"/>
                <a:ext cx="402431" cy="0"/>
              </a:xfrm>
              <a:prstGeom prst="line">
                <a:avLst/>
              </a:prstGeom>
              <a:ln w="12700">
                <a:solidFill>
                  <a:srgbClr val="FFEEA9"/>
                </a:solidFill>
              </a:ln>
            </p:spPr>
            <p:style>
              <a:lnRef idx="1">
                <a:schemeClr val="accent1"/>
              </a:lnRef>
              <a:fillRef idx="0">
                <a:schemeClr val="accent1"/>
              </a:fillRef>
              <a:effectRef idx="0">
                <a:schemeClr val="accent1"/>
              </a:effectRef>
              <a:fontRef idx="minor">
                <a:schemeClr val="tx1"/>
              </a:fontRef>
            </p:style>
          </p:cxnSp>
        </p:grpSp>
        <p:sp>
          <p:nvSpPr>
            <p:cNvPr id="944" name="CaixaDeTexto 943">
              <a:extLst>
                <a:ext uri="{FF2B5EF4-FFF2-40B4-BE49-F238E27FC236}">
                  <a16:creationId xmlns:a16="http://schemas.microsoft.com/office/drawing/2014/main" id="{EDD3D470-F5D6-F454-520A-F09B96BBAFEA}"/>
                </a:ext>
              </a:extLst>
            </p:cNvPr>
            <p:cNvSpPr txBox="1"/>
            <p:nvPr/>
          </p:nvSpPr>
          <p:spPr>
            <a:xfrm>
              <a:off x="8223059" y="4782380"/>
              <a:ext cx="1598046" cy="338554"/>
            </a:xfrm>
            <a:prstGeom prst="rect">
              <a:avLst/>
            </a:prstGeom>
            <a:noFill/>
          </p:spPr>
          <p:txBody>
            <a:bodyPr wrap="square" rtlCol="0">
              <a:spAutoFit/>
            </a:bodyPr>
            <a:lstStyle>
              <a:defPPr>
                <a:defRPr lang="pt-BR"/>
              </a:defPPr>
              <a:lvl1pPr>
                <a:spcAft>
                  <a:spcPts val="5400"/>
                </a:spcAft>
                <a:defRPr sz="2000">
                  <a:solidFill>
                    <a:srgbClr val="3C3C3C"/>
                  </a:solidFill>
                  <a:latin typeface="Votorantim Sans" panose="02010503030202050203" pitchFamily="2" charset="0"/>
                </a:defRPr>
              </a:lvl1pPr>
            </a:lstStyle>
            <a:p>
              <a:r>
                <a:rPr lang="pt-BR" sz="1600" dirty="0"/>
                <a:t>El Porvenir</a:t>
              </a:r>
            </a:p>
          </p:txBody>
        </p:sp>
        <p:cxnSp>
          <p:nvCxnSpPr>
            <p:cNvPr id="959" name="Conector reto 958">
              <a:extLst>
                <a:ext uri="{FF2B5EF4-FFF2-40B4-BE49-F238E27FC236}">
                  <a16:creationId xmlns:a16="http://schemas.microsoft.com/office/drawing/2014/main" id="{09C387E2-FA34-8531-01B7-9E4D2C491835}"/>
                </a:ext>
              </a:extLst>
            </p:cNvPr>
            <p:cNvCxnSpPr>
              <a:cxnSpLocks/>
            </p:cNvCxnSpPr>
            <p:nvPr/>
          </p:nvCxnSpPr>
          <p:spPr>
            <a:xfrm>
              <a:off x="7508668" y="4822971"/>
              <a:ext cx="864041"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cxnSp>
          <p:nvCxnSpPr>
            <p:cNvPr id="964" name="Conector reto 963">
              <a:extLst>
                <a:ext uri="{FF2B5EF4-FFF2-40B4-BE49-F238E27FC236}">
                  <a16:creationId xmlns:a16="http://schemas.microsoft.com/office/drawing/2014/main" id="{DE5A0D1F-1FA1-9950-A599-49E3B6420F29}"/>
                </a:ext>
              </a:extLst>
            </p:cNvPr>
            <p:cNvCxnSpPr>
              <a:cxnSpLocks/>
            </p:cNvCxnSpPr>
            <p:nvPr/>
          </p:nvCxnSpPr>
          <p:spPr>
            <a:xfrm>
              <a:off x="6363311" y="4929602"/>
              <a:ext cx="337585"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cxnSp>
          <p:nvCxnSpPr>
            <p:cNvPr id="966" name="Conector reto 965">
              <a:extLst>
                <a:ext uri="{FF2B5EF4-FFF2-40B4-BE49-F238E27FC236}">
                  <a16:creationId xmlns:a16="http://schemas.microsoft.com/office/drawing/2014/main" id="{A3445121-4488-359D-73F9-2E231CE05F55}"/>
                </a:ext>
              </a:extLst>
            </p:cNvPr>
            <p:cNvCxnSpPr>
              <a:cxnSpLocks/>
            </p:cNvCxnSpPr>
            <p:nvPr/>
          </p:nvCxnSpPr>
          <p:spPr>
            <a:xfrm>
              <a:off x="5256310" y="5230278"/>
              <a:ext cx="1536550"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cxnSp>
          <p:nvCxnSpPr>
            <p:cNvPr id="1014" name="Conector reto 1013">
              <a:extLst>
                <a:ext uri="{FF2B5EF4-FFF2-40B4-BE49-F238E27FC236}">
                  <a16:creationId xmlns:a16="http://schemas.microsoft.com/office/drawing/2014/main" id="{94DD97A1-4DF6-2D8E-4D0A-83D3AA5B2E7E}"/>
                </a:ext>
              </a:extLst>
            </p:cNvPr>
            <p:cNvCxnSpPr>
              <a:cxnSpLocks/>
            </p:cNvCxnSpPr>
            <p:nvPr/>
          </p:nvCxnSpPr>
          <p:spPr>
            <a:xfrm>
              <a:off x="7318342" y="5013325"/>
              <a:ext cx="976802" cy="0"/>
            </a:xfrm>
            <a:prstGeom prst="line">
              <a:avLst/>
            </a:prstGeom>
            <a:ln>
              <a:solidFill>
                <a:srgbClr val="FFEEA9"/>
              </a:solidFill>
            </a:ln>
          </p:spPr>
          <p:style>
            <a:lnRef idx="1">
              <a:schemeClr val="accent1"/>
            </a:lnRef>
            <a:fillRef idx="0">
              <a:schemeClr val="accent1"/>
            </a:fillRef>
            <a:effectRef idx="0">
              <a:schemeClr val="accent1"/>
            </a:effectRef>
            <a:fontRef idx="minor">
              <a:schemeClr val="tx1"/>
            </a:fontRef>
          </p:style>
        </p:cxnSp>
      </p:grpSp>
      <p:sp>
        <p:nvSpPr>
          <p:cNvPr id="3" name="TextBox 3">
            <a:extLst>
              <a:ext uri="{FF2B5EF4-FFF2-40B4-BE49-F238E27FC236}">
                <a16:creationId xmlns:a16="http://schemas.microsoft.com/office/drawing/2014/main" id="{A500CB27-66A7-CAB9-65B2-76DF568043A1}"/>
              </a:ext>
            </a:extLst>
          </p:cNvPr>
          <p:cNvSpPr txBox="1">
            <a:spLocks noChangeArrowheads="1"/>
          </p:cNvSpPr>
          <p:nvPr/>
        </p:nvSpPr>
        <p:spPr bwMode="auto">
          <a:xfrm>
            <a:off x="738188" y="3351213"/>
            <a:ext cx="3548062" cy="178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spcAft>
                <a:spcPts val="2400"/>
              </a:spcAft>
            </a:pPr>
            <a:r>
              <a:rPr lang="en-US" altLang="en-US" sz="2000" b="1" dirty="0" err="1">
                <a:solidFill>
                  <a:srgbClr val="FF5000"/>
                </a:solidFill>
                <a:latin typeface="Votorantim Sans" panose="020B0604020202020204" charset="0"/>
              </a:rPr>
              <a:t>Posición</a:t>
            </a:r>
            <a:r>
              <a:rPr lang="en-US" altLang="en-US" sz="2000" b="1" dirty="0">
                <a:solidFill>
                  <a:srgbClr val="FF5000"/>
                </a:solidFill>
                <a:latin typeface="Votorantim Sans" panose="020B0604020202020204" charset="0"/>
              </a:rPr>
              <a:t> </a:t>
            </a:r>
            <a:r>
              <a:rPr lang="en-US" altLang="en-US" sz="2000" b="1" dirty="0" err="1">
                <a:solidFill>
                  <a:srgbClr val="FF5000"/>
                </a:solidFill>
                <a:latin typeface="Votorantim Sans" panose="020B0604020202020204" charset="0"/>
              </a:rPr>
              <a:t>estratégica</a:t>
            </a:r>
            <a:r>
              <a:rPr lang="en-US" altLang="en-US" sz="2000" b="1" dirty="0">
                <a:solidFill>
                  <a:srgbClr val="FF5000"/>
                </a:solidFill>
                <a:latin typeface="Votorantim Sans" panose="020B0604020202020204" charset="0"/>
              </a:rPr>
              <a:t>:</a:t>
            </a:r>
            <a:br>
              <a:rPr lang="pt-BR" altLang="en-US" sz="2000" b="1" dirty="0">
                <a:solidFill>
                  <a:srgbClr val="FF5000"/>
                </a:solidFill>
                <a:latin typeface="Votorantim Sans" panose="020B0604020202020204" charset="0"/>
              </a:rPr>
            </a:br>
            <a:r>
              <a:rPr lang="en-US" altLang="en-US" dirty="0">
                <a:solidFill>
                  <a:srgbClr val="3C3C3C"/>
                </a:solidFill>
                <a:latin typeface="Votorantim Sans" panose="020B0604020202020204" charset="0"/>
              </a:rPr>
              <a:t>mina de zinc </a:t>
            </a:r>
            <a:r>
              <a:rPr lang="en-US" altLang="en-US" dirty="0" err="1">
                <a:solidFill>
                  <a:srgbClr val="3C3C3C"/>
                </a:solidFill>
                <a:latin typeface="Votorantim Sans" panose="020B0604020202020204" charset="0"/>
              </a:rPr>
              <a:t>subterránea</a:t>
            </a:r>
            <a:r>
              <a:rPr lang="en-US" altLang="en-US" dirty="0">
                <a:solidFill>
                  <a:srgbClr val="3C3C3C"/>
                </a:solidFill>
                <a:latin typeface="Votorantim Sans" panose="020B0604020202020204" charset="0"/>
              </a:rPr>
              <a:t> </a:t>
            </a:r>
            <a:r>
              <a:rPr lang="en-US" altLang="en-US" dirty="0" err="1">
                <a:solidFill>
                  <a:srgbClr val="3C3C3C"/>
                </a:solidFill>
                <a:latin typeface="Votorantim Sans" panose="020B0604020202020204" charset="0"/>
              </a:rPr>
              <a:t>más</a:t>
            </a:r>
            <a:r>
              <a:rPr lang="en-US" altLang="en-US" dirty="0">
                <a:solidFill>
                  <a:srgbClr val="3C3C3C"/>
                </a:solidFill>
                <a:latin typeface="Votorantim Sans" panose="020B0604020202020204" charset="0"/>
              </a:rPr>
              <a:t> </a:t>
            </a:r>
            <a:r>
              <a:rPr lang="en-US" altLang="en-US" dirty="0" err="1">
                <a:solidFill>
                  <a:srgbClr val="3C3C3C"/>
                </a:solidFill>
                <a:latin typeface="Votorantim Sans" panose="020B0604020202020204" charset="0"/>
              </a:rPr>
              <a:t>grande</a:t>
            </a:r>
            <a:r>
              <a:rPr lang="en-US" altLang="en-US" dirty="0">
                <a:solidFill>
                  <a:srgbClr val="3C3C3C"/>
                </a:solidFill>
                <a:latin typeface="Votorantim Sans" panose="020B0604020202020204" charset="0"/>
              </a:rPr>
              <a:t> </a:t>
            </a:r>
            <a:r>
              <a:rPr lang="en-US" altLang="en-US" dirty="0" err="1">
                <a:solidFill>
                  <a:srgbClr val="3C3C3C"/>
                </a:solidFill>
                <a:latin typeface="Votorantim Sans" panose="020B0604020202020204" charset="0"/>
              </a:rPr>
              <a:t>en</a:t>
            </a:r>
            <a:r>
              <a:rPr lang="en-US" altLang="en-US" dirty="0">
                <a:solidFill>
                  <a:srgbClr val="3C3C3C"/>
                </a:solidFill>
                <a:latin typeface="Votorantim Sans" panose="020B0604020202020204" charset="0"/>
              </a:rPr>
              <a:t> el</a:t>
            </a:r>
            <a:r>
              <a:rPr lang="en-US" altLang="en-US" b="1" dirty="0">
                <a:solidFill>
                  <a:srgbClr val="3C3C3C"/>
                </a:solidFill>
                <a:latin typeface="Votorantim Sans" panose="020B0604020202020204" charset="0"/>
              </a:rPr>
              <a:t> Perú</a:t>
            </a:r>
            <a:r>
              <a:rPr lang="en-US" altLang="en-US" dirty="0">
                <a:solidFill>
                  <a:srgbClr val="3C3C3C"/>
                </a:solidFill>
                <a:latin typeface="Votorantim Sans" panose="020B0604020202020204" charset="0"/>
              </a:rPr>
              <a:t> (Cerro Lindo) y la</a:t>
            </a:r>
            <a:r>
              <a:rPr lang="en-US" altLang="en-US" b="1" dirty="0">
                <a:solidFill>
                  <a:srgbClr val="3C3C3C"/>
                </a:solidFill>
                <a:latin typeface="Votorantim Sans" panose="020B0604020202020204" charset="0"/>
              </a:rPr>
              <a:t> </a:t>
            </a:r>
            <a:r>
              <a:rPr lang="en-US" altLang="en-US" b="1" dirty="0" err="1">
                <a:solidFill>
                  <a:srgbClr val="3C3C3C"/>
                </a:solidFill>
                <a:latin typeface="Votorantim Sans" panose="020B0604020202020204" charset="0"/>
              </a:rPr>
              <a:t>refinería</a:t>
            </a:r>
            <a:r>
              <a:rPr lang="en-US" altLang="en-US" b="1" dirty="0">
                <a:solidFill>
                  <a:srgbClr val="3C3C3C"/>
                </a:solidFill>
                <a:latin typeface="Votorantim Sans" panose="020B0604020202020204" charset="0"/>
              </a:rPr>
              <a:t> de zinc </a:t>
            </a:r>
            <a:r>
              <a:rPr lang="en-US" altLang="en-US" b="1" dirty="0" err="1">
                <a:solidFill>
                  <a:srgbClr val="3C3C3C"/>
                </a:solidFill>
                <a:latin typeface="Votorantim Sans" panose="020B0604020202020204" charset="0"/>
              </a:rPr>
              <a:t>más</a:t>
            </a:r>
            <a:r>
              <a:rPr lang="en-US" altLang="en-US" b="1" dirty="0">
                <a:solidFill>
                  <a:srgbClr val="3C3C3C"/>
                </a:solidFill>
                <a:latin typeface="Votorantim Sans" panose="020B0604020202020204" charset="0"/>
              </a:rPr>
              <a:t> </a:t>
            </a:r>
            <a:r>
              <a:rPr lang="en-US" altLang="en-US" b="1" dirty="0" err="1">
                <a:solidFill>
                  <a:srgbClr val="3C3C3C"/>
                </a:solidFill>
                <a:latin typeface="Votorantim Sans" panose="020B0604020202020204" charset="0"/>
              </a:rPr>
              <a:t>grande</a:t>
            </a:r>
            <a:r>
              <a:rPr lang="en-US" altLang="en-US" b="1" dirty="0">
                <a:solidFill>
                  <a:srgbClr val="3C3C3C"/>
                </a:solidFill>
                <a:latin typeface="Votorantim Sans" panose="020B0604020202020204" charset="0"/>
              </a:rPr>
              <a:t> de las </a:t>
            </a:r>
            <a:r>
              <a:rPr lang="en-US" altLang="en-US" b="1" dirty="0" err="1">
                <a:solidFill>
                  <a:srgbClr val="3C3C3C"/>
                </a:solidFill>
                <a:latin typeface="Votorantim Sans" panose="020B0604020202020204" charset="0"/>
              </a:rPr>
              <a:t>Américas</a:t>
            </a:r>
            <a:r>
              <a:rPr lang="en-US" altLang="en-US" dirty="0">
                <a:solidFill>
                  <a:srgbClr val="3C3C3C"/>
                </a:solidFill>
                <a:latin typeface="Votorantim Sans" panose="020B0604020202020204" charset="0"/>
              </a:rPr>
              <a:t> (Cajamarquilla).</a:t>
            </a:r>
          </a:p>
        </p:txBody>
      </p:sp>
      <p:sp>
        <p:nvSpPr>
          <p:cNvPr id="7" name="TextBox 3">
            <a:extLst>
              <a:ext uri="{FF2B5EF4-FFF2-40B4-BE49-F238E27FC236}">
                <a16:creationId xmlns:a16="http://schemas.microsoft.com/office/drawing/2014/main" id="{C2BEFE56-2C48-002B-9B1E-D3FE6804789E}"/>
              </a:ext>
            </a:extLst>
          </p:cNvPr>
          <p:cNvSpPr txBox="1">
            <a:spLocks noChangeArrowheads="1"/>
          </p:cNvSpPr>
          <p:nvPr/>
        </p:nvSpPr>
        <p:spPr bwMode="auto">
          <a:xfrm>
            <a:off x="738187" y="5586413"/>
            <a:ext cx="4035759" cy="1508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spcAft>
                <a:spcPts val="2400"/>
              </a:spcAft>
            </a:pPr>
            <a:r>
              <a:rPr lang="en-US" altLang="en-US" sz="2000" b="1" dirty="0">
                <a:solidFill>
                  <a:srgbClr val="FF5000"/>
                </a:solidFill>
                <a:latin typeface="Votorantim Sans" panose="020B0604020202020204" charset="0"/>
              </a:rPr>
              <a:t>Cadena </a:t>
            </a:r>
            <a:r>
              <a:rPr lang="en-US" altLang="en-US" sz="2000" b="1" dirty="0" err="1">
                <a:solidFill>
                  <a:srgbClr val="FF5000"/>
                </a:solidFill>
                <a:latin typeface="Votorantim Sans" panose="020B0604020202020204" charset="0"/>
              </a:rPr>
              <a:t>integrada</a:t>
            </a:r>
            <a:r>
              <a:rPr lang="en-US" altLang="en-US" sz="2000" b="1" dirty="0">
                <a:solidFill>
                  <a:srgbClr val="FF5000"/>
                </a:solidFill>
                <a:latin typeface="Votorantim Sans" panose="020B0604020202020204" charset="0"/>
              </a:rPr>
              <a:t>:</a:t>
            </a:r>
            <a:br>
              <a:rPr lang="pt-BR" altLang="en-US" sz="2000" b="1" dirty="0">
                <a:solidFill>
                  <a:srgbClr val="FF5000"/>
                </a:solidFill>
                <a:latin typeface="Votorantim Sans" panose="020B0604020202020204" charset="0"/>
              </a:rPr>
            </a:br>
            <a:r>
              <a:rPr lang="en-US" altLang="en-US" dirty="0" err="1">
                <a:solidFill>
                  <a:srgbClr val="3C3C3C"/>
                </a:solidFill>
                <a:latin typeface="Votorantim Sans" panose="020B0604020202020204" charset="0"/>
              </a:rPr>
              <a:t>más</a:t>
            </a:r>
            <a:r>
              <a:rPr lang="en-US" altLang="en-US" dirty="0">
                <a:solidFill>
                  <a:srgbClr val="3C3C3C"/>
                </a:solidFill>
                <a:latin typeface="Votorantim Sans" panose="020B0604020202020204" charset="0"/>
              </a:rPr>
              <a:t> de la </a:t>
            </a:r>
            <a:r>
              <a:rPr lang="en-US" altLang="en-US" dirty="0" err="1">
                <a:solidFill>
                  <a:srgbClr val="3C3C3C"/>
                </a:solidFill>
                <a:latin typeface="Votorantim Sans" panose="020B0604020202020204" charset="0"/>
              </a:rPr>
              <a:t>mitad</a:t>
            </a:r>
            <a:r>
              <a:rPr lang="en-US" altLang="en-US" dirty="0">
                <a:solidFill>
                  <a:srgbClr val="3C3C3C"/>
                </a:solidFill>
                <a:latin typeface="Votorantim Sans" panose="020B0604020202020204" charset="0"/>
              </a:rPr>
              <a:t> del zinc </a:t>
            </a:r>
            <a:r>
              <a:rPr lang="en-US" altLang="en-US" dirty="0" err="1">
                <a:solidFill>
                  <a:srgbClr val="3C3C3C"/>
                </a:solidFill>
                <a:latin typeface="Votorantim Sans" panose="020B0604020202020204" charset="0"/>
              </a:rPr>
              <a:t>suministrado</a:t>
            </a:r>
            <a:r>
              <a:rPr lang="en-US" altLang="en-US" dirty="0">
                <a:solidFill>
                  <a:srgbClr val="3C3C3C"/>
                </a:solidFill>
                <a:latin typeface="Votorantim Sans" panose="020B0604020202020204" charset="0"/>
              </a:rPr>
              <a:t> a </a:t>
            </a:r>
            <a:r>
              <a:rPr lang="en-US" altLang="en-US" dirty="0" err="1">
                <a:solidFill>
                  <a:srgbClr val="3C3C3C"/>
                </a:solidFill>
                <a:latin typeface="Votorantim Sans" panose="020B0604020202020204" charset="0"/>
              </a:rPr>
              <a:t>nuestras</a:t>
            </a:r>
            <a:r>
              <a:rPr lang="en-US" altLang="en-US" dirty="0">
                <a:solidFill>
                  <a:srgbClr val="3C3C3C"/>
                </a:solidFill>
                <a:latin typeface="Votorantim Sans" panose="020B0604020202020204" charset="0"/>
              </a:rPr>
              <a:t> </a:t>
            </a:r>
            <a:br>
              <a:rPr lang="en-US" altLang="en-US" dirty="0">
                <a:solidFill>
                  <a:srgbClr val="3C3C3C"/>
                </a:solidFill>
                <a:latin typeface="Votorantim Sans" panose="020B0604020202020204" charset="0"/>
              </a:rPr>
            </a:br>
            <a:r>
              <a:rPr lang="en-US" altLang="en-US" dirty="0" err="1">
                <a:solidFill>
                  <a:srgbClr val="3C3C3C"/>
                </a:solidFill>
                <a:latin typeface="Votorantim Sans" panose="020B0604020202020204" charset="0"/>
              </a:rPr>
              <a:t>refinerías</a:t>
            </a:r>
            <a:r>
              <a:rPr lang="en-US" altLang="en-US" dirty="0">
                <a:solidFill>
                  <a:srgbClr val="3C3C3C"/>
                </a:solidFill>
                <a:latin typeface="Votorantim Sans" panose="020B0604020202020204" charset="0"/>
              </a:rPr>
              <a:t> </a:t>
            </a:r>
            <a:r>
              <a:rPr lang="en-US" altLang="en-US" dirty="0" err="1">
                <a:solidFill>
                  <a:srgbClr val="3C3C3C"/>
                </a:solidFill>
                <a:latin typeface="Votorantim Sans" panose="020B0604020202020204" charset="0"/>
              </a:rPr>
              <a:t>proviene</a:t>
            </a:r>
            <a:r>
              <a:rPr lang="en-US" altLang="en-US" dirty="0">
                <a:solidFill>
                  <a:srgbClr val="3C3C3C"/>
                </a:solidFill>
                <a:latin typeface="Votorantim Sans" panose="020B0604020202020204" charset="0"/>
              </a:rPr>
              <a:t> de </a:t>
            </a:r>
            <a:r>
              <a:rPr lang="en-US" altLang="en-US" dirty="0" err="1">
                <a:solidFill>
                  <a:srgbClr val="3C3C3C"/>
                </a:solidFill>
                <a:latin typeface="Votorantim Sans" panose="020B0604020202020204" charset="0"/>
              </a:rPr>
              <a:t>nuestras</a:t>
            </a:r>
            <a:r>
              <a:rPr lang="en-US" altLang="en-US" dirty="0">
                <a:solidFill>
                  <a:srgbClr val="3C3C3C"/>
                </a:solidFill>
                <a:latin typeface="Votorantim Sans" panose="020B0604020202020204" charset="0"/>
              </a:rPr>
              <a:t> </a:t>
            </a:r>
            <a:r>
              <a:rPr lang="en-US" altLang="en-US" dirty="0" err="1">
                <a:solidFill>
                  <a:srgbClr val="3C3C3C"/>
                </a:solidFill>
                <a:latin typeface="Votorantim Sans" panose="020B0604020202020204" charset="0"/>
              </a:rPr>
              <a:t>propias</a:t>
            </a:r>
            <a:r>
              <a:rPr lang="en-US" altLang="en-US" dirty="0">
                <a:solidFill>
                  <a:srgbClr val="3C3C3C"/>
                </a:solidFill>
                <a:latin typeface="Votorantim Sans" panose="020B0604020202020204" charset="0"/>
              </a:rPr>
              <a:t> minas. </a:t>
            </a:r>
          </a:p>
        </p:txBody>
      </p:sp>
      <p:grpSp>
        <p:nvGrpSpPr>
          <p:cNvPr id="19" name="Agrupar 18">
            <a:extLst>
              <a:ext uri="{FF2B5EF4-FFF2-40B4-BE49-F238E27FC236}">
                <a16:creationId xmlns:a16="http://schemas.microsoft.com/office/drawing/2014/main" id="{DF8EF3AC-9450-A493-720C-4CE0CED0C47E}"/>
              </a:ext>
            </a:extLst>
          </p:cNvPr>
          <p:cNvGrpSpPr/>
          <p:nvPr/>
        </p:nvGrpSpPr>
        <p:grpSpPr>
          <a:xfrm>
            <a:off x="4606925" y="720725"/>
            <a:ext cx="13241125" cy="1800459"/>
            <a:chOff x="4606925" y="720725"/>
            <a:chExt cx="13241125" cy="1800459"/>
          </a:xfrm>
        </p:grpSpPr>
        <p:sp>
          <p:nvSpPr>
            <p:cNvPr id="16" name="TextBox 2">
              <a:extLst>
                <a:ext uri="{FF2B5EF4-FFF2-40B4-BE49-F238E27FC236}">
                  <a16:creationId xmlns:a16="http://schemas.microsoft.com/office/drawing/2014/main" id="{FDCA8A3C-2D82-5473-D875-5B44206B1314}"/>
                </a:ext>
              </a:extLst>
            </p:cNvPr>
            <p:cNvSpPr txBox="1">
              <a:spLocks noChangeArrowheads="1"/>
            </p:cNvSpPr>
            <p:nvPr/>
          </p:nvSpPr>
          <p:spPr bwMode="auto">
            <a:xfrm>
              <a:off x="4651673" y="720725"/>
              <a:ext cx="264367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400" dirty="0" err="1">
                  <a:solidFill>
                    <a:srgbClr val="3C3C3C"/>
                  </a:solidFill>
                  <a:latin typeface="Votorantim Sans" panose="020B0604020202020204" charset="0"/>
                </a:rPr>
                <a:t>Tenemos</a:t>
              </a:r>
              <a:r>
                <a:rPr lang="en-US" altLang="en-US" sz="2400" dirty="0">
                  <a:solidFill>
                    <a:srgbClr val="3C3C3C"/>
                  </a:solidFill>
                  <a:latin typeface="Votorantim Sans" panose="020B0604020202020204" charset="0"/>
                </a:rPr>
                <a:t> </a:t>
              </a:r>
              <a:r>
                <a:rPr lang="en-US" altLang="en-US" sz="2400" dirty="0" err="1">
                  <a:solidFill>
                    <a:srgbClr val="3C3C3C"/>
                  </a:solidFill>
                  <a:latin typeface="Votorantim Sans" panose="020B0604020202020204" charset="0"/>
                </a:rPr>
                <a:t>más</a:t>
              </a:r>
              <a:r>
                <a:rPr lang="en-US" altLang="en-US" sz="2400" dirty="0">
                  <a:solidFill>
                    <a:srgbClr val="3C3C3C"/>
                  </a:solidFill>
                  <a:latin typeface="Votorantim Sans" panose="020B0604020202020204" charset="0"/>
                </a:rPr>
                <a:t> de </a:t>
              </a:r>
            </a:p>
          </p:txBody>
        </p:sp>
        <p:sp>
          <p:nvSpPr>
            <p:cNvPr id="17" name="TextBox 3">
              <a:extLst>
                <a:ext uri="{FF2B5EF4-FFF2-40B4-BE49-F238E27FC236}">
                  <a16:creationId xmlns:a16="http://schemas.microsoft.com/office/drawing/2014/main" id="{67F9A9D4-D3BC-1DDA-44A1-A13DAA942091}"/>
                </a:ext>
              </a:extLst>
            </p:cNvPr>
            <p:cNvSpPr txBox="1">
              <a:spLocks noChangeArrowheads="1"/>
            </p:cNvSpPr>
            <p:nvPr/>
          </p:nvSpPr>
          <p:spPr bwMode="auto">
            <a:xfrm>
              <a:off x="4606925" y="951524"/>
              <a:ext cx="13241125"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9600" dirty="0">
                  <a:solidFill>
                    <a:srgbClr val="FF5000"/>
                  </a:solidFill>
                  <a:latin typeface="Votorantim Sans Black" panose="020B0604020202020204" charset="0"/>
                </a:rPr>
                <a:t>65 años                         </a:t>
              </a:r>
            </a:p>
          </p:txBody>
        </p:sp>
        <p:sp>
          <p:nvSpPr>
            <p:cNvPr id="18" name="TextBox 2">
              <a:extLst>
                <a:ext uri="{FF2B5EF4-FFF2-40B4-BE49-F238E27FC236}">
                  <a16:creationId xmlns:a16="http://schemas.microsoft.com/office/drawing/2014/main" id="{1CBE72AE-7D38-593B-8537-BDBB0A98B462}"/>
                </a:ext>
              </a:extLst>
            </p:cNvPr>
            <p:cNvSpPr txBox="1">
              <a:spLocks noChangeArrowheads="1"/>
            </p:cNvSpPr>
            <p:nvPr/>
          </p:nvSpPr>
          <p:spPr bwMode="auto">
            <a:xfrm>
              <a:off x="9533280" y="1488365"/>
              <a:ext cx="7181413" cy="830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400" dirty="0">
                  <a:solidFill>
                    <a:srgbClr val="3C3C3C"/>
                  </a:solidFill>
                  <a:latin typeface="Votorantim Sans" panose="020B0604020202020204" charset="0"/>
                </a:rPr>
                <a:t>de experiencia operando y desarrollando </a:t>
              </a:r>
              <a:br>
                <a:rPr lang="en-US" altLang="en-US" sz="2400" dirty="0">
                  <a:solidFill>
                    <a:srgbClr val="3C3C3C"/>
                  </a:solidFill>
                  <a:latin typeface="Votorantim Sans" panose="020B0604020202020204" charset="0"/>
                </a:rPr>
              </a:br>
              <a:r>
                <a:rPr lang="en-US" altLang="en-US" sz="2400" dirty="0">
                  <a:solidFill>
                    <a:srgbClr val="3C3C3C"/>
                  </a:solidFill>
                  <a:latin typeface="Votorantim Sans" panose="020B0604020202020204" charset="0"/>
                </a:rPr>
                <a:t>activos mineros y metalúrgicos.</a:t>
              </a:r>
            </a:p>
          </p:txBody>
        </p:sp>
      </p:grpSp>
    </p:spTree>
    <p:extLst>
      <p:ext uri="{BB962C8B-B14F-4D97-AF65-F5344CB8AC3E}">
        <p14:creationId xmlns:p14="http://schemas.microsoft.com/office/powerpoint/2010/main" val="35187077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34"/>
                                        </p:tgtEl>
                                        <p:attrNameLst>
                                          <p:attrName>style.visibility</p:attrName>
                                        </p:attrNameLst>
                                      </p:cBhvr>
                                      <p:to>
                                        <p:strVal val="visible"/>
                                      </p:to>
                                    </p:set>
                                    <p:animEffect transition="in" filter="fade">
                                      <p:cBhvr>
                                        <p:cTn id="7" dur="750"/>
                                        <p:tgtEl>
                                          <p:spTgt spid="634"/>
                                        </p:tgtEl>
                                      </p:cBhvr>
                                    </p:animEffect>
                                  </p:childTnLst>
                                </p:cTn>
                              </p:par>
                              <p:par>
                                <p:cTn id="8" presetID="35" presetClass="path" presetSubtype="0" accel="50000" decel="50000" fill="hold" nodeType="withEffect">
                                  <p:stCondLst>
                                    <p:cond delay="0"/>
                                  </p:stCondLst>
                                  <p:childTnLst>
                                    <p:animMotion origin="layout" path="M -0.02197 -1.80064E-6 L -4.71971E-6 -1.80064E-6 " pathEditMode="relative" rAng="0" ptsTypes="AA">
                                      <p:cBhvr>
                                        <p:cTn id="9" dur="750" fill="hold"/>
                                        <p:tgtEl>
                                          <p:spTgt spid="634"/>
                                        </p:tgtEl>
                                        <p:attrNameLst>
                                          <p:attrName>ppt_x</p:attrName>
                                          <p:attrName>ppt_y</p:attrName>
                                        </p:attrNameLst>
                                      </p:cBhvr>
                                      <p:rCtr x="1094" y="0"/>
                                    </p:animMotion>
                                  </p:childTnLst>
                                </p:cTn>
                              </p:par>
                              <p:par>
                                <p:cTn id="10" presetID="10" presetClass="entr" presetSubtype="0" fill="hold" nodeType="withEffect">
                                  <p:stCondLst>
                                    <p:cond delay="100"/>
                                  </p:stCondLst>
                                  <p:childTnLst>
                                    <p:set>
                                      <p:cBhvr>
                                        <p:cTn id="11" dur="1" fill="hold">
                                          <p:stCondLst>
                                            <p:cond delay="0"/>
                                          </p:stCondLst>
                                        </p:cTn>
                                        <p:tgtEl>
                                          <p:spTgt spid="629"/>
                                        </p:tgtEl>
                                        <p:attrNameLst>
                                          <p:attrName>style.visibility</p:attrName>
                                        </p:attrNameLst>
                                      </p:cBhvr>
                                      <p:to>
                                        <p:strVal val="visible"/>
                                      </p:to>
                                    </p:set>
                                    <p:animEffect transition="in" filter="fade">
                                      <p:cBhvr>
                                        <p:cTn id="12" dur="750"/>
                                        <p:tgtEl>
                                          <p:spTgt spid="629"/>
                                        </p:tgtEl>
                                      </p:cBhvr>
                                    </p:animEffect>
                                  </p:childTnLst>
                                </p:cTn>
                              </p:par>
                              <p:par>
                                <p:cTn id="13" presetID="35" presetClass="path" presetSubtype="0" accel="50000" decel="50000" fill="hold" nodeType="withEffect">
                                  <p:stCondLst>
                                    <p:cond delay="100"/>
                                  </p:stCondLst>
                                  <p:childTnLst>
                                    <p:animMotion origin="layout" path="M -0.02197 -2.63666E-6 L -2.40506E-6 -2.63666E-6 " pathEditMode="relative" rAng="0" ptsTypes="AA">
                                      <p:cBhvr>
                                        <p:cTn id="14" dur="750" fill="hold"/>
                                        <p:tgtEl>
                                          <p:spTgt spid="629"/>
                                        </p:tgtEl>
                                        <p:attrNameLst>
                                          <p:attrName>ppt_x</p:attrName>
                                          <p:attrName>ppt_y</p:attrName>
                                        </p:attrNameLst>
                                      </p:cBhvr>
                                      <p:rCtr x="1094" y="0"/>
                                    </p:animMotion>
                                  </p:childTnLst>
                                </p:cTn>
                              </p:par>
                              <p:par>
                                <p:cTn id="15" presetID="10" presetClass="entr" presetSubtype="0" fill="hold" nodeType="withEffect">
                                  <p:stCondLst>
                                    <p:cond delay="300"/>
                                  </p:stCondLst>
                                  <p:childTnLst>
                                    <p:set>
                                      <p:cBhvr>
                                        <p:cTn id="16" dur="1" fill="hold">
                                          <p:stCondLst>
                                            <p:cond delay="0"/>
                                          </p:stCondLst>
                                        </p:cTn>
                                        <p:tgtEl>
                                          <p:spTgt spid="631"/>
                                        </p:tgtEl>
                                        <p:attrNameLst>
                                          <p:attrName>style.visibility</p:attrName>
                                        </p:attrNameLst>
                                      </p:cBhvr>
                                      <p:to>
                                        <p:strVal val="visible"/>
                                      </p:to>
                                    </p:set>
                                    <p:animEffect transition="in" filter="fade">
                                      <p:cBhvr>
                                        <p:cTn id="17" dur="750"/>
                                        <p:tgtEl>
                                          <p:spTgt spid="631"/>
                                        </p:tgtEl>
                                      </p:cBhvr>
                                    </p:animEffect>
                                  </p:childTnLst>
                                </p:cTn>
                              </p:par>
                              <p:par>
                                <p:cTn id="18" presetID="35" presetClass="path" presetSubtype="0" accel="50000" decel="50000" fill="hold" nodeType="withEffect">
                                  <p:stCondLst>
                                    <p:cond delay="300"/>
                                  </p:stCondLst>
                                  <p:childTnLst>
                                    <p:animMotion origin="layout" path="M -0.02197 4.18006E-7 L 3.18264E-6 4.18006E-7 " pathEditMode="relative" rAng="0" ptsTypes="AA">
                                      <p:cBhvr>
                                        <p:cTn id="19" dur="750" fill="hold"/>
                                        <p:tgtEl>
                                          <p:spTgt spid="631"/>
                                        </p:tgtEl>
                                        <p:attrNameLst>
                                          <p:attrName>ppt_x</p:attrName>
                                          <p:attrName>ppt_y</p:attrName>
                                        </p:attrNameLst>
                                      </p:cBhvr>
                                      <p:rCtr x="1094" y="0"/>
                                    </p:animMotion>
                                  </p:childTnLst>
                                </p:cTn>
                              </p:par>
                              <p:par>
                                <p:cTn id="20" presetID="10" presetClass="entr" presetSubtype="0" fill="hold" grpId="0" nodeType="withEffect">
                                  <p:stCondLst>
                                    <p:cond delay="0"/>
                                  </p:stCondLst>
                                  <p:iterate type="wd">
                                    <p:tmPct val="10000"/>
                                  </p:iterate>
                                  <p:childTnLst>
                                    <p:set>
                                      <p:cBhvr>
                                        <p:cTn id="21" dur="1" fill="hold">
                                          <p:stCondLst>
                                            <p:cond delay="0"/>
                                          </p:stCondLst>
                                        </p:cTn>
                                        <p:tgtEl>
                                          <p:spTgt spid="853"/>
                                        </p:tgtEl>
                                        <p:attrNameLst>
                                          <p:attrName>style.visibility</p:attrName>
                                        </p:attrNameLst>
                                      </p:cBhvr>
                                      <p:to>
                                        <p:strVal val="visible"/>
                                      </p:to>
                                    </p:set>
                                    <p:animEffect transition="in" filter="fade">
                                      <p:cBhvr>
                                        <p:cTn id="22" dur="500"/>
                                        <p:tgtEl>
                                          <p:spTgt spid="853"/>
                                        </p:tgtEl>
                                      </p:cBhvr>
                                    </p:animEffect>
                                  </p:childTnLst>
                                </p:cTn>
                              </p:par>
                              <p:par>
                                <p:cTn id="23" presetID="10" presetClass="entr" presetSubtype="0" fill="hold" grpId="0" nodeType="withEffect">
                                  <p:stCondLst>
                                    <p:cond delay="0"/>
                                  </p:stCondLst>
                                  <p:iterate type="wd">
                                    <p:tmPct val="10000"/>
                                  </p:iterate>
                                  <p:childTnLst>
                                    <p:set>
                                      <p:cBhvr>
                                        <p:cTn id="24" dur="1" fill="hold">
                                          <p:stCondLst>
                                            <p:cond delay="0"/>
                                          </p:stCondLst>
                                        </p:cTn>
                                        <p:tgtEl>
                                          <p:spTgt spid="854"/>
                                        </p:tgtEl>
                                        <p:attrNameLst>
                                          <p:attrName>style.visibility</p:attrName>
                                        </p:attrNameLst>
                                      </p:cBhvr>
                                      <p:to>
                                        <p:strVal val="visible"/>
                                      </p:to>
                                    </p:set>
                                    <p:animEffect transition="in" filter="fade">
                                      <p:cBhvr>
                                        <p:cTn id="25" dur="500"/>
                                        <p:tgtEl>
                                          <p:spTgt spid="854"/>
                                        </p:tgtEl>
                                      </p:cBhvr>
                                    </p:animEffect>
                                  </p:childTnLst>
                                </p:cTn>
                              </p:par>
                              <p:par>
                                <p:cTn id="26" presetID="10" presetClass="entr" presetSubtype="0" fill="hold" grpId="0" nodeType="withEffect">
                                  <p:stCondLst>
                                    <p:cond delay="0"/>
                                  </p:stCondLst>
                                  <p:iterate type="wd">
                                    <p:tmPct val="10000"/>
                                  </p:iterate>
                                  <p:childTnLst>
                                    <p:set>
                                      <p:cBhvr>
                                        <p:cTn id="27" dur="1" fill="hold">
                                          <p:stCondLst>
                                            <p:cond delay="0"/>
                                          </p:stCondLst>
                                        </p:cTn>
                                        <p:tgtEl>
                                          <p:spTgt spid="855"/>
                                        </p:tgtEl>
                                        <p:attrNameLst>
                                          <p:attrName>style.visibility</p:attrName>
                                        </p:attrNameLst>
                                      </p:cBhvr>
                                      <p:to>
                                        <p:strVal val="visible"/>
                                      </p:to>
                                    </p:set>
                                    <p:animEffect transition="in" filter="fade">
                                      <p:cBhvr>
                                        <p:cTn id="28" dur="500"/>
                                        <p:tgtEl>
                                          <p:spTgt spid="855"/>
                                        </p:tgtEl>
                                      </p:cBhvr>
                                    </p:animEffect>
                                  </p:childTnLst>
                                </p:cTn>
                              </p:par>
                              <p:par>
                                <p:cTn id="29" presetID="10"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3" grpId="0"/>
      <p:bldP spid="854" grpId="0"/>
      <p:bldP spid="85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Graphic 7">
            <a:extLst>
              <a:ext uri="{FF2B5EF4-FFF2-40B4-BE49-F238E27FC236}">
                <a16:creationId xmlns:a16="http://schemas.microsoft.com/office/drawing/2014/main" id="{D18380E1-FF07-E5B8-F833-FA61F58163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38175"/>
            <a:ext cx="4319588"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1507" name="Objeto 7" hidden="1">
            <a:extLst>
              <a:ext uri="{FF2B5EF4-FFF2-40B4-BE49-F238E27FC236}">
                <a16:creationId xmlns:a16="http://schemas.microsoft.com/office/drawing/2014/main" id="{94EB0EE6-E12D-7CD3-D2EA-8EA1B6FEAC98}"/>
              </a:ext>
            </a:extLst>
          </p:cNvPr>
          <p:cNvGraphicFramePr>
            <a:graphicFrameLocks noChangeAspect="1"/>
          </p:cNvGraphicFramePr>
          <p:nvPr>
            <p:custDataLst>
              <p:tags r:id="rId1"/>
            </p:custDataLst>
          </p:nvPr>
        </p:nvGraphicFramePr>
        <p:xfrm>
          <a:off x="4763" y="1588"/>
          <a:ext cx="1587" cy="3175"/>
        </p:xfrm>
        <a:graphic>
          <a:graphicData uri="http://schemas.openxmlformats.org/presentationml/2006/ole">
            <mc:AlternateContent xmlns:mc="http://schemas.openxmlformats.org/markup-compatibility/2006">
              <mc:Choice xmlns:v="urn:schemas-microsoft-com:vml" Requires="v">
                <p:oleObj name="Slide do think-cell" r:id="rId5" imgW="360" imgH="360" progId="TCLayout.ActiveDocument.1">
                  <p:embed/>
                </p:oleObj>
              </mc:Choice>
              <mc:Fallback>
                <p:oleObj name="Slide do think-cell" r:id="rId5" imgW="360" imgH="360" progId="TCLayout.ActiveDocument.1">
                  <p:embed/>
                  <p:pic>
                    <p:nvPicPr>
                      <p:cNvPr id="21507" name="Objeto 7" hidden="1">
                        <a:extLst>
                          <a:ext uri="{FF2B5EF4-FFF2-40B4-BE49-F238E27FC236}">
                            <a16:creationId xmlns:a16="http://schemas.microsoft.com/office/drawing/2014/main" id="{94EB0EE6-E12D-7CD3-D2EA-8EA1B6FEAC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63"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 name="Graphic 10">
            <a:extLst>
              <a:ext uri="{FF2B5EF4-FFF2-40B4-BE49-F238E27FC236}">
                <a16:creationId xmlns:a16="http://schemas.microsoft.com/office/drawing/2014/main" id="{F6FE1981-4944-80B7-F6E9-7E2F0AE0D85F}"/>
              </a:ext>
            </a:extLst>
          </p:cNvPr>
          <p:cNvSpPr/>
          <p:nvPr/>
        </p:nvSpPr>
        <p:spPr>
          <a:xfrm flipH="1" flipV="1">
            <a:off x="8001751" y="6868519"/>
            <a:ext cx="4939747" cy="3502424"/>
          </a:xfrm>
          <a:custGeom>
            <a:avLst/>
            <a:gdLst>
              <a:gd name="connsiteX0" fmla="*/ 4443084 w 9337210"/>
              <a:gd name="connsiteY0" fmla="*/ 6620355 h 6620354"/>
              <a:gd name="connsiteX1" fmla="*/ 0 w 9337210"/>
              <a:gd name="connsiteY1" fmla="*/ 6620355 h 6620354"/>
              <a:gd name="connsiteX2" fmla="*/ 4894127 w 9337210"/>
              <a:gd name="connsiteY2" fmla="*/ 0 h 6620354"/>
              <a:gd name="connsiteX3" fmla="*/ 9337211 w 9337210"/>
              <a:gd name="connsiteY3" fmla="*/ 0 h 6620354"/>
              <a:gd name="connsiteX4" fmla="*/ 4443084 w 9337210"/>
              <a:gd name="connsiteY4" fmla="*/ 6620355 h 662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7210" h="6620354">
                <a:moveTo>
                  <a:pt x="4443084" y="6620355"/>
                </a:moveTo>
                <a:lnTo>
                  <a:pt x="0" y="6620355"/>
                </a:lnTo>
                <a:lnTo>
                  <a:pt x="4894127" y="0"/>
                </a:lnTo>
                <a:lnTo>
                  <a:pt x="9337211" y="0"/>
                </a:lnTo>
                <a:lnTo>
                  <a:pt x="4443084" y="6620355"/>
                </a:lnTo>
                <a:close/>
              </a:path>
            </a:pathLst>
          </a:custGeom>
          <a:gradFill flip="none" rotWithShape="1">
            <a:gsLst>
              <a:gs pos="0">
                <a:srgbClr val="F8BE3B"/>
              </a:gs>
              <a:gs pos="72000">
                <a:srgbClr val="DBA1DB"/>
              </a:gs>
            </a:gsLst>
            <a:path path="circle">
              <a:fillToRect t="100000" r="100000"/>
            </a:path>
            <a:tileRect l="-100000" b="-100000"/>
          </a:gradFill>
          <a:ln w="75658" cap="flat">
            <a:noFill/>
            <a:prstDash val="solid"/>
            <a:miter/>
          </a:ln>
        </p:spPr>
        <p:txBody>
          <a:bodyPr anchor="ctr"/>
          <a:lstStyle/>
          <a:p>
            <a:pPr defTabSz="914400" eaLnBrk="0" hangingPunct="0">
              <a:defRPr/>
            </a:pPr>
            <a:endParaRPr lang="pt-BR">
              <a:solidFill>
                <a:prstClr val="black"/>
              </a:solidFill>
              <a:latin typeface="Arial" panose="020B0604020202020204" pitchFamily="34" charset="0"/>
              <a:ea typeface="ＭＳ Ｐゴシック" panose="020B0600070205080204" pitchFamily="34" charset="-128"/>
              <a:cs typeface="+mn-cs"/>
            </a:endParaRPr>
          </a:p>
        </p:txBody>
      </p:sp>
      <p:sp>
        <p:nvSpPr>
          <p:cNvPr id="9" name="CuadroTexto 8">
            <a:extLst>
              <a:ext uri="{FF2B5EF4-FFF2-40B4-BE49-F238E27FC236}">
                <a16:creationId xmlns:a16="http://schemas.microsoft.com/office/drawing/2014/main" id="{C4379E7F-95C2-BF1C-3078-93B24B986116}"/>
              </a:ext>
            </a:extLst>
          </p:cNvPr>
          <p:cNvSpPr txBox="1">
            <a:spLocks noChangeArrowheads="1"/>
          </p:cNvSpPr>
          <p:nvPr/>
        </p:nvSpPr>
        <p:spPr bwMode="auto">
          <a:xfrm>
            <a:off x="30163" y="1117600"/>
            <a:ext cx="3200400" cy="1243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316038" eaLnBrk="0" hangingPunct="0">
              <a:lnSpc>
                <a:spcPct val="90000"/>
              </a:lnSpc>
              <a:spcBef>
                <a:spcPts val="1438"/>
              </a:spcBef>
              <a:buFont typeface="Arial" panose="020B0604020202020204" pitchFamily="34" charset="0"/>
              <a:buChar char="•"/>
              <a:defRPr sz="4000">
                <a:solidFill>
                  <a:schemeClr val="tx1"/>
                </a:solidFill>
                <a:latin typeface="Calibri" panose="020F0502020204030204" pitchFamily="34" charset="0"/>
              </a:defRPr>
            </a:lvl1pPr>
            <a:lvl2pPr marL="742950" indent="-285750" defTabSz="1316038" eaLnBrk="0" hangingPunct="0">
              <a:lnSpc>
                <a:spcPct val="90000"/>
              </a:lnSpc>
              <a:spcBef>
                <a:spcPts val="725"/>
              </a:spcBef>
              <a:buFont typeface="Arial" panose="020B0604020202020204" pitchFamily="34" charset="0"/>
              <a:buChar char="•"/>
              <a:defRPr sz="3400">
                <a:solidFill>
                  <a:schemeClr val="tx1"/>
                </a:solidFill>
                <a:latin typeface="Calibri" panose="020F0502020204030204" pitchFamily="34" charset="0"/>
              </a:defRPr>
            </a:lvl2pPr>
            <a:lvl3pPr marL="1143000" indent="-228600" defTabSz="1316038" eaLnBrk="0" hangingPunct="0">
              <a:lnSpc>
                <a:spcPct val="90000"/>
              </a:lnSpc>
              <a:spcBef>
                <a:spcPts val="725"/>
              </a:spcBef>
              <a:buFont typeface="Arial" panose="020B0604020202020204" pitchFamily="34" charset="0"/>
              <a:buChar char="•"/>
              <a:defRPr sz="2800">
                <a:solidFill>
                  <a:schemeClr val="tx1"/>
                </a:solidFill>
                <a:latin typeface="Calibri" panose="020F0502020204030204" pitchFamily="34" charset="0"/>
              </a:defRPr>
            </a:lvl3pPr>
            <a:lvl4pPr marL="1600200" indent="-228600" defTabSz="1316038" eaLnBrk="0" hangingPunct="0">
              <a:lnSpc>
                <a:spcPct val="90000"/>
              </a:lnSpc>
              <a:spcBef>
                <a:spcPts val="725"/>
              </a:spcBef>
              <a:buFont typeface="Arial" panose="020B0604020202020204" pitchFamily="34" charset="0"/>
              <a:buChar char="•"/>
              <a:defRPr sz="2500">
                <a:solidFill>
                  <a:schemeClr val="tx1"/>
                </a:solidFill>
                <a:latin typeface="Calibri" panose="020F0502020204030204" pitchFamily="34" charset="0"/>
              </a:defRPr>
            </a:lvl4pPr>
            <a:lvl5pPr marL="2057400" indent="-228600" defTabSz="1316038" eaLnBrk="0" hangingPunct="0">
              <a:lnSpc>
                <a:spcPct val="90000"/>
              </a:lnSpc>
              <a:spcBef>
                <a:spcPts val="725"/>
              </a:spcBef>
              <a:buFont typeface="Arial" panose="020B0604020202020204" pitchFamily="34" charset="0"/>
              <a:buChar char="•"/>
              <a:defRPr sz="2500">
                <a:solidFill>
                  <a:schemeClr val="tx1"/>
                </a:solidFill>
                <a:latin typeface="Calibri" panose="020F0502020204030204" pitchFamily="34" charset="0"/>
              </a:defRPr>
            </a:lvl5pPr>
            <a:lvl6pPr marL="2514600" indent="-228600" defTabSz="1316038"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6pPr>
            <a:lvl7pPr marL="2971800" indent="-228600" defTabSz="1316038"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7pPr>
            <a:lvl8pPr marL="3429000" indent="-228600" defTabSz="1316038"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8pPr>
            <a:lvl9pPr marL="3886200" indent="-228600" defTabSz="1316038" eaLnBrk="0" fontAlgn="base" hangingPunct="0">
              <a:lnSpc>
                <a:spcPct val="90000"/>
              </a:lnSpc>
              <a:spcBef>
                <a:spcPts val="725"/>
              </a:spcBef>
              <a:spcAft>
                <a:spcPct val="0"/>
              </a:spcAft>
              <a:buFont typeface="Arial" panose="020B0604020202020204" pitchFamily="34" charset="0"/>
              <a:buChar char="•"/>
              <a:defRPr sz="2500">
                <a:solidFill>
                  <a:schemeClr val="tx1"/>
                </a:solidFill>
                <a:latin typeface="Calibri" panose="020F0502020204030204" pitchFamily="34" charset="0"/>
              </a:defRPr>
            </a:lvl9pPr>
          </a:lstStyle>
          <a:p>
            <a:pPr algn="ctr" eaLnBrk="1" hangingPunct="1">
              <a:lnSpc>
                <a:spcPct val="85000"/>
              </a:lnSpc>
              <a:spcBef>
                <a:spcPct val="0"/>
              </a:spcBef>
              <a:buFontTx/>
              <a:buNone/>
            </a:pPr>
            <a:r>
              <a:rPr lang="en-US" altLang="en-US" sz="4400" b="1" dirty="0" err="1">
                <a:solidFill>
                  <a:schemeClr val="bg1"/>
                </a:solidFill>
                <a:latin typeface="Votorantim Sans" charset="0"/>
                <a:ea typeface="Verdana" panose="020B0604030504040204" pitchFamily="34" charset="0"/>
                <a:cs typeface="Verdana" panose="020B0604030504040204" pitchFamily="34" charset="0"/>
              </a:rPr>
              <a:t>Metas</a:t>
            </a:r>
            <a:br>
              <a:rPr lang="pt-BR" altLang="en-US" sz="4400" b="1" dirty="0">
                <a:solidFill>
                  <a:schemeClr val="bg1"/>
                </a:solidFill>
                <a:latin typeface="Votorantim Sans" charset="0"/>
                <a:ea typeface="Verdana" panose="020B0604030504040204" pitchFamily="34" charset="0"/>
                <a:cs typeface="Verdana" panose="020B0604030504040204" pitchFamily="34" charset="0"/>
              </a:rPr>
            </a:br>
            <a:r>
              <a:rPr lang="en-US" altLang="en-US" sz="4400" b="1" dirty="0">
                <a:solidFill>
                  <a:schemeClr val="bg1"/>
                </a:solidFill>
                <a:latin typeface="Votorantim Sans" charset="0"/>
                <a:ea typeface="Verdana" panose="020B0604030504040204" pitchFamily="34" charset="0"/>
                <a:cs typeface="Verdana" panose="020B0604030504040204" pitchFamily="34" charset="0"/>
              </a:rPr>
              <a:t> </a:t>
            </a:r>
            <a:r>
              <a:rPr lang="en-US" altLang="en-US" sz="4400" b="1" dirty="0" err="1">
                <a:solidFill>
                  <a:schemeClr val="bg1"/>
                </a:solidFill>
                <a:latin typeface="Votorantim Sans" charset="0"/>
                <a:ea typeface="Verdana" panose="020B0604030504040204" pitchFamily="34" charset="0"/>
                <a:cs typeface="Verdana" panose="020B0604030504040204" pitchFamily="34" charset="0"/>
              </a:rPr>
              <a:t>públicas</a:t>
            </a:r>
            <a:r>
              <a:rPr lang="en-US" altLang="en-US" sz="4400" b="1" dirty="0">
                <a:solidFill>
                  <a:schemeClr val="bg1"/>
                </a:solidFill>
                <a:latin typeface="Votorantim Sans" charset="0"/>
                <a:ea typeface="Verdana" panose="020B0604030504040204" pitchFamily="34" charset="0"/>
                <a:cs typeface="Verdana" panose="020B0604030504040204" pitchFamily="34" charset="0"/>
              </a:rPr>
              <a:t> </a:t>
            </a:r>
            <a:endParaRPr lang="pt-BR" altLang="en-US" sz="4400" b="1" dirty="0">
              <a:solidFill>
                <a:srgbClr val="DBDBDB"/>
              </a:solidFill>
              <a:latin typeface="Votorantim Sans" charset="0"/>
              <a:ea typeface="Verdana" panose="020B0604030504040204" pitchFamily="34" charset="0"/>
              <a:cs typeface="Verdana" panose="020B0604030504040204" pitchFamily="34" charset="0"/>
            </a:endParaRPr>
          </a:p>
        </p:txBody>
      </p:sp>
      <p:sp>
        <p:nvSpPr>
          <p:cNvPr id="43" name="TextBox 42">
            <a:extLst>
              <a:ext uri="{FF2B5EF4-FFF2-40B4-BE49-F238E27FC236}">
                <a16:creationId xmlns:a16="http://schemas.microsoft.com/office/drawing/2014/main" id="{6FA7374F-9D93-FA7D-B1FC-F3FC32207E78}"/>
              </a:ext>
            </a:extLst>
          </p:cNvPr>
          <p:cNvSpPr txBox="1">
            <a:spLocks noChangeArrowheads="1"/>
          </p:cNvSpPr>
          <p:nvPr/>
        </p:nvSpPr>
        <p:spPr bwMode="auto">
          <a:xfrm>
            <a:off x="3201988" y="230188"/>
            <a:ext cx="9007475"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16600">
                <a:solidFill>
                  <a:srgbClr val="FF5000"/>
                </a:solidFill>
                <a:latin typeface="Votorantim Sans Black" charset="0"/>
                <a:ea typeface="MS PGothic" panose="020B0600070205080204" pitchFamily="34" charset="-128"/>
              </a:rPr>
              <a:t>2030</a:t>
            </a:r>
            <a:endParaRPr lang="pt-BR" altLang="en-US" sz="2000">
              <a:solidFill>
                <a:srgbClr val="FF5000"/>
              </a:solidFill>
              <a:latin typeface="Votorantim Sans Black" charset="0"/>
              <a:ea typeface="MS PGothic" panose="020B0600070205080204" pitchFamily="34" charset="-128"/>
            </a:endParaRPr>
          </a:p>
        </p:txBody>
      </p:sp>
      <p:pic>
        <p:nvPicPr>
          <p:cNvPr id="34" name="Picture 33">
            <a:extLst>
              <a:ext uri="{FF2B5EF4-FFF2-40B4-BE49-F238E27FC236}">
                <a16:creationId xmlns:a16="http://schemas.microsoft.com/office/drawing/2014/main" id="{DB5028E4-E34C-15C2-B77F-115C0C1BC4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49287"/>
          <a:stretch>
            <a:fillRect/>
          </a:stretch>
        </p:blipFill>
        <p:spPr bwMode="auto">
          <a:xfrm>
            <a:off x="8653463" y="0"/>
            <a:ext cx="8902700" cy="987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Graphic 12">
            <a:extLst>
              <a:ext uri="{FF2B5EF4-FFF2-40B4-BE49-F238E27FC236}">
                <a16:creationId xmlns:a16="http://schemas.microsoft.com/office/drawing/2014/main" id="{8DF7708D-FDD7-633C-199F-45616EE065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r="7631" b="76688"/>
          <a:stretch>
            <a:fillRect/>
          </a:stretch>
        </p:blipFill>
        <p:spPr bwMode="auto">
          <a:xfrm>
            <a:off x="14773275" y="1406525"/>
            <a:ext cx="5273675"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7" name="Group 56">
            <a:extLst>
              <a:ext uri="{FF2B5EF4-FFF2-40B4-BE49-F238E27FC236}">
                <a16:creationId xmlns:a16="http://schemas.microsoft.com/office/drawing/2014/main" id="{75E22478-F80C-372D-61BF-B57D15F453F8}"/>
              </a:ext>
            </a:extLst>
          </p:cNvPr>
          <p:cNvGrpSpPr>
            <a:grpSpLocks/>
          </p:cNvGrpSpPr>
          <p:nvPr/>
        </p:nvGrpSpPr>
        <p:grpSpPr bwMode="auto">
          <a:xfrm>
            <a:off x="8778875" y="638175"/>
            <a:ext cx="5849938" cy="1730375"/>
            <a:chOff x="9012261" y="742964"/>
            <a:chExt cx="5616828" cy="1625924"/>
          </a:xfrm>
        </p:grpSpPr>
        <p:pic>
          <p:nvPicPr>
            <p:cNvPr id="21567" name="Graphic 52">
              <a:extLst>
                <a:ext uri="{FF2B5EF4-FFF2-40B4-BE49-F238E27FC236}">
                  <a16:creationId xmlns:a16="http://schemas.microsoft.com/office/drawing/2014/main" id="{A3D78715-EEA4-1606-C04E-A7FF55BD67E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012261" y="742964"/>
              <a:ext cx="5616828" cy="1625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68" name="TextBox 53">
              <a:extLst>
                <a:ext uri="{FF2B5EF4-FFF2-40B4-BE49-F238E27FC236}">
                  <a16:creationId xmlns:a16="http://schemas.microsoft.com/office/drawing/2014/main" id="{C51C5B34-0783-1EEB-CB09-2E6139D64657}"/>
                </a:ext>
              </a:extLst>
            </p:cNvPr>
            <p:cNvSpPr txBox="1">
              <a:spLocks noChangeArrowheads="1"/>
            </p:cNvSpPr>
            <p:nvPr/>
          </p:nvSpPr>
          <p:spPr bwMode="auto">
            <a:xfrm>
              <a:off x="9333016" y="843030"/>
              <a:ext cx="1008910" cy="135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800" dirty="0">
                  <a:solidFill>
                    <a:srgbClr val="FF5000"/>
                  </a:solidFill>
                  <a:latin typeface="Votorantim Sans Black" charset="0"/>
                  <a:ea typeface="MS PGothic" panose="020B0600070205080204" pitchFamily="34" charset="-128"/>
                </a:rPr>
                <a:t>E</a:t>
              </a:r>
              <a:endParaRPr lang="pt-BR" altLang="en-US" sz="1200" dirty="0">
                <a:solidFill>
                  <a:srgbClr val="FF5000"/>
                </a:solidFill>
                <a:latin typeface="Votorantim Sans Black" charset="0"/>
                <a:ea typeface="MS PGothic" panose="020B0600070205080204" pitchFamily="34" charset="-128"/>
              </a:endParaRPr>
            </a:p>
          </p:txBody>
        </p:sp>
        <p:sp>
          <p:nvSpPr>
            <p:cNvPr id="21569" name="TextBox 54">
              <a:extLst>
                <a:ext uri="{FF2B5EF4-FFF2-40B4-BE49-F238E27FC236}">
                  <a16:creationId xmlns:a16="http://schemas.microsoft.com/office/drawing/2014/main" id="{9593F2C7-26E0-C951-8030-2F90969F18CB}"/>
                </a:ext>
              </a:extLst>
            </p:cNvPr>
            <p:cNvSpPr txBox="1">
              <a:spLocks noChangeArrowheads="1"/>
            </p:cNvSpPr>
            <p:nvPr/>
          </p:nvSpPr>
          <p:spPr bwMode="auto">
            <a:xfrm>
              <a:off x="11300919" y="843030"/>
              <a:ext cx="1008910" cy="1359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800">
                  <a:solidFill>
                    <a:srgbClr val="FF5000"/>
                  </a:solidFill>
                  <a:latin typeface="Votorantim Sans Black" charset="0"/>
                  <a:ea typeface="MS PGothic" panose="020B0600070205080204" pitchFamily="34" charset="-128"/>
                </a:rPr>
                <a:t>S</a:t>
              </a:r>
              <a:endParaRPr lang="pt-BR" altLang="en-US" sz="1200">
                <a:solidFill>
                  <a:srgbClr val="FF5000"/>
                </a:solidFill>
                <a:latin typeface="Votorantim Sans Black" charset="0"/>
                <a:ea typeface="MS PGothic" panose="020B0600070205080204" pitchFamily="34" charset="-128"/>
              </a:endParaRPr>
            </a:p>
          </p:txBody>
        </p:sp>
        <p:sp>
          <p:nvSpPr>
            <p:cNvPr id="21570" name="TextBox 55">
              <a:extLst>
                <a:ext uri="{FF2B5EF4-FFF2-40B4-BE49-F238E27FC236}">
                  <a16:creationId xmlns:a16="http://schemas.microsoft.com/office/drawing/2014/main" id="{4DFD4599-9EA9-CC52-3D8C-14E83818F705}"/>
                </a:ext>
              </a:extLst>
            </p:cNvPr>
            <p:cNvSpPr txBox="1">
              <a:spLocks noChangeArrowheads="1"/>
            </p:cNvSpPr>
            <p:nvPr/>
          </p:nvSpPr>
          <p:spPr bwMode="auto">
            <a:xfrm>
              <a:off x="13268822" y="843030"/>
              <a:ext cx="1008910" cy="1359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8800">
                  <a:solidFill>
                    <a:srgbClr val="FF5000"/>
                  </a:solidFill>
                  <a:latin typeface="Votorantim Sans Black" charset="0"/>
                  <a:ea typeface="MS PGothic" panose="020B0600070205080204" pitchFamily="34" charset="-128"/>
                </a:rPr>
                <a:t>G</a:t>
              </a:r>
            </a:p>
          </p:txBody>
        </p:sp>
      </p:grpSp>
      <p:pic>
        <p:nvPicPr>
          <p:cNvPr id="59" name="Graphic 7">
            <a:extLst>
              <a:ext uri="{FF2B5EF4-FFF2-40B4-BE49-F238E27FC236}">
                <a16:creationId xmlns:a16="http://schemas.microsoft.com/office/drawing/2014/main" id="{74D40843-4DAA-DCF8-2976-69AAA0F28DE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101388" y="4940300"/>
            <a:ext cx="1952625" cy="195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5" name="Grupo 64">
            <a:extLst>
              <a:ext uri="{FF2B5EF4-FFF2-40B4-BE49-F238E27FC236}">
                <a16:creationId xmlns:a16="http://schemas.microsoft.com/office/drawing/2014/main" id="{A1B4CB85-DA3C-8FE7-CD38-35E27A8F2BAF}"/>
              </a:ext>
            </a:extLst>
          </p:cNvPr>
          <p:cNvGrpSpPr/>
          <p:nvPr/>
        </p:nvGrpSpPr>
        <p:grpSpPr>
          <a:xfrm>
            <a:off x="780169" y="3866471"/>
            <a:ext cx="6247790" cy="3294315"/>
            <a:chOff x="780169" y="3866471"/>
            <a:chExt cx="6247790" cy="3294315"/>
          </a:xfrm>
        </p:grpSpPr>
        <p:grpSp>
          <p:nvGrpSpPr>
            <p:cNvPr id="66" name="Agrupar 53">
              <a:extLst>
                <a:ext uri="{FF2B5EF4-FFF2-40B4-BE49-F238E27FC236}">
                  <a16:creationId xmlns:a16="http://schemas.microsoft.com/office/drawing/2014/main" id="{B6DF80A2-B963-2746-1F3B-97C3165A1BDB}"/>
                </a:ext>
              </a:extLst>
            </p:cNvPr>
            <p:cNvGrpSpPr/>
            <p:nvPr/>
          </p:nvGrpSpPr>
          <p:grpSpPr>
            <a:xfrm>
              <a:off x="780169" y="3866471"/>
              <a:ext cx="640867" cy="686643"/>
              <a:chOff x="1328559" y="5086004"/>
              <a:chExt cx="640867" cy="686643"/>
            </a:xfrm>
          </p:grpSpPr>
          <p:pic>
            <p:nvPicPr>
              <p:cNvPr id="72" name="Gráfico 71">
                <a:extLst>
                  <a:ext uri="{FF2B5EF4-FFF2-40B4-BE49-F238E27FC236}">
                    <a16:creationId xmlns:a16="http://schemas.microsoft.com/office/drawing/2014/main" id="{5B623894-C9A2-89B1-A922-426D81E2B6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328559" y="5086004"/>
                <a:ext cx="640867" cy="686643"/>
              </a:xfrm>
              <a:prstGeom prst="rect">
                <a:avLst/>
              </a:prstGeom>
            </p:spPr>
          </p:pic>
          <p:cxnSp>
            <p:nvCxnSpPr>
              <p:cNvPr id="73" name="Conector reto 47">
                <a:extLst>
                  <a:ext uri="{FF2B5EF4-FFF2-40B4-BE49-F238E27FC236}">
                    <a16:creationId xmlns:a16="http://schemas.microsoft.com/office/drawing/2014/main" id="{3A9F1951-B54E-5931-D002-3E48B0499BF6}"/>
                  </a:ext>
                </a:extLst>
              </p:cNvPr>
              <p:cNvCxnSpPr>
                <a:cxnSpLocks/>
              </p:cNvCxnSpPr>
              <p:nvPr/>
            </p:nvCxnSpPr>
            <p:spPr>
              <a:xfrm>
                <a:off x="1395234" y="5772647"/>
                <a:ext cx="574192" cy="0"/>
              </a:xfrm>
              <a:prstGeom prst="line">
                <a:avLst/>
              </a:prstGeom>
              <a:ln w="38100">
                <a:solidFill>
                  <a:srgbClr val="FF5000"/>
                </a:solidFill>
              </a:ln>
            </p:spPr>
            <p:style>
              <a:lnRef idx="1">
                <a:schemeClr val="accent1"/>
              </a:lnRef>
              <a:fillRef idx="0">
                <a:schemeClr val="accent1"/>
              </a:fillRef>
              <a:effectRef idx="0">
                <a:schemeClr val="accent1"/>
              </a:effectRef>
              <a:fontRef idx="minor">
                <a:schemeClr val="tx1"/>
              </a:fontRef>
            </p:style>
          </p:cxnSp>
        </p:grpSp>
        <p:grpSp>
          <p:nvGrpSpPr>
            <p:cNvPr id="67" name="Group 64">
              <a:extLst>
                <a:ext uri="{FF2B5EF4-FFF2-40B4-BE49-F238E27FC236}">
                  <a16:creationId xmlns:a16="http://schemas.microsoft.com/office/drawing/2014/main" id="{6C7EDB32-889D-2999-483D-9E2B62082C46}"/>
                </a:ext>
              </a:extLst>
            </p:cNvPr>
            <p:cNvGrpSpPr/>
            <p:nvPr/>
          </p:nvGrpSpPr>
          <p:grpSpPr>
            <a:xfrm>
              <a:off x="1457074" y="4044764"/>
              <a:ext cx="5570885" cy="3116022"/>
              <a:chOff x="1284597" y="4083811"/>
              <a:chExt cx="5570885" cy="3116022"/>
            </a:xfrm>
          </p:grpSpPr>
          <p:sp>
            <p:nvSpPr>
              <p:cNvPr id="68" name="CaixaDeTexto 30">
                <a:extLst>
                  <a:ext uri="{FF2B5EF4-FFF2-40B4-BE49-F238E27FC236}">
                    <a16:creationId xmlns:a16="http://schemas.microsoft.com/office/drawing/2014/main" id="{68888B52-5A34-F20F-7533-212463AE3C62}"/>
                  </a:ext>
                </a:extLst>
              </p:cNvPr>
              <p:cNvSpPr txBox="1"/>
              <p:nvPr/>
            </p:nvSpPr>
            <p:spPr>
              <a:xfrm>
                <a:off x="1284597" y="4970825"/>
                <a:ext cx="4561639" cy="2229008"/>
              </a:xfrm>
              <a:prstGeom prst="rect">
                <a:avLst/>
              </a:prstGeom>
              <a:noFill/>
            </p:spPr>
            <p:txBody>
              <a:bodyPr wrap="square" rtlCol="0">
                <a:spAutoFit/>
              </a:bodyPr>
              <a:lstStyle/>
              <a:p>
                <a:pPr eaLnBrk="1" hangingPunct="1">
                  <a:lnSpc>
                    <a:spcPct val="75000"/>
                  </a:lnSpc>
                </a:pPr>
                <a:r>
                  <a:rPr lang="es-PE" altLang="en-US" sz="1600" b="1" dirty="0">
                    <a:solidFill>
                      <a:srgbClr val="3C3C3C"/>
                    </a:solidFill>
                    <a:latin typeface="Votorantim Sans" charset="0"/>
                    <a:ea typeface="DengXian" panose="02010600030101010101" pitchFamily="2" charset="-122"/>
                    <a:cs typeface="DengXian" panose="02010600030101010101" pitchFamily="2" charset="-122"/>
                  </a:rPr>
                  <a:t>Reducción absoluta de emisiones alcance 1</a:t>
                </a:r>
                <a:br>
                  <a:rPr lang="es-PE" altLang="en-US" sz="1600" dirty="0">
                    <a:solidFill>
                      <a:srgbClr val="3C3C3C"/>
                    </a:solidFill>
                    <a:latin typeface="Votorantim Sans" charset="0"/>
                    <a:ea typeface="DengXian" panose="02010600030101010101" pitchFamily="2" charset="-122"/>
                    <a:cs typeface="DengXian" panose="02010600030101010101" pitchFamily="2" charset="-122"/>
                  </a:rPr>
                </a:br>
                <a:r>
                  <a:rPr lang="es-PE" altLang="en-US" sz="1600" dirty="0">
                    <a:solidFill>
                      <a:srgbClr val="3C3C3C"/>
                    </a:solidFill>
                    <a:latin typeface="Votorantim Sans" charset="0"/>
                    <a:ea typeface="DengXian" panose="02010600030101010101" pitchFamily="2" charset="-122"/>
                    <a:cs typeface="DengXian" panose="02010600030101010101" pitchFamily="2" charset="-122"/>
                  </a:rPr>
                  <a:t>en un 20% (52 mil toneladas de CO</a:t>
                </a:r>
                <a:r>
                  <a:rPr lang="es-PE" altLang="en-US" sz="1600" baseline="-25000" dirty="0">
                    <a:solidFill>
                      <a:srgbClr val="3C3C3C"/>
                    </a:solidFill>
                    <a:latin typeface="Votorantim Sans" charset="0"/>
                    <a:ea typeface="DengXian" panose="02010600030101010101" pitchFamily="2" charset="-122"/>
                    <a:cs typeface="DengXian" panose="02010600030101010101" pitchFamily="2" charset="-122"/>
                  </a:rPr>
                  <a:t>2</a:t>
                </a:r>
                <a:r>
                  <a:rPr lang="es-PE" altLang="en-US" sz="1600" dirty="0">
                    <a:solidFill>
                      <a:srgbClr val="3C3C3C"/>
                    </a:solidFill>
                    <a:latin typeface="Votorantim Sans" charset="0"/>
                    <a:ea typeface="DengXian" panose="02010600030101010101" pitchFamily="2" charset="-122"/>
                    <a:cs typeface="DengXian" panose="02010600030101010101" pitchFamily="2" charset="-122"/>
                  </a:rPr>
                  <a:t> equivalente), manteniendo la matriz eléctrica de Nexa compuesta casi en su totalidad por fuentes renovables.</a:t>
                </a:r>
              </a:p>
              <a:p>
                <a:pPr eaLnBrk="1" hangingPunct="1">
                  <a:lnSpc>
                    <a:spcPct val="75000"/>
                  </a:lnSpc>
                </a:pPr>
                <a:endParaRPr lang="es-PE" altLang="en-US" sz="1600" dirty="0">
                  <a:solidFill>
                    <a:srgbClr val="3C3C3C"/>
                  </a:solidFill>
                  <a:latin typeface="Votorantim Sans" charset="0"/>
                  <a:ea typeface="DengXian" panose="02010600030101010101" pitchFamily="2" charset="-122"/>
                  <a:cs typeface="DengXian" panose="02010600030101010101" pitchFamily="2" charset="-122"/>
                </a:endParaRPr>
              </a:p>
              <a:p>
                <a:pPr eaLnBrk="1" hangingPunct="1">
                  <a:lnSpc>
                    <a:spcPct val="75000"/>
                  </a:lnSpc>
                </a:pPr>
                <a:r>
                  <a:rPr lang="es-ES" altLang="en-US" sz="1600" b="1" dirty="0">
                    <a:solidFill>
                      <a:srgbClr val="3C3C3C"/>
                    </a:solidFill>
                    <a:latin typeface="Votorantim Sans" charset="0"/>
                    <a:ea typeface="DengXian" panose="02010600030101010101" pitchFamily="2" charset="-122"/>
                    <a:cs typeface="DengXian" panose="02010600030101010101" pitchFamily="2" charset="-122"/>
                  </a:rPr>
                  <a:t>Lograr la neutralidad </a:t>
                </a:r>
                <a:r>
                  <a:rPr lang="es-ES" altLang="en-US" sz="1600" dirty="0">
                    <a:solidFill>
                      <a:srgbClr val="3C3C3C"/>
                    </a:solidFill>
                    <a:latin typeface="Votorantim Sans" charset="0"/>
                    <a:ea typeface="DengXian" panose="02010600030101010101" pitchFamily="2" charset="-122"/>
                    <a:cs typeface="DengXian" panose="02010600030101010101" pitchFamily="2" charset="-122"/>
                  </a:rPr>
                  <a:t>de las emisiones hasta el 2040</a:t>
                </a:r>
                <a:r>
                  <a:rPr lang="en-US" altLang="en-US" sz="1600" dirty="0">
                    <a:solidFill>
                      <a:srgbClr val="3C3C3C"/>
                    </a:solidFill>
                    <a:latin typeface="Votorantim Sans" charset="0"/>
                    <a:ea typeface="DengXian" panose="02010600030101010101" pitchFamily="2" charset="-122"/>
                    <a:cs typeface="DengXian" panose="02010600030101010101" pitchFamily="2" charset="-122"/>
                  </a:rPr>
                  <a:t>.</a:t>
                </a:r>
              </a:p>
              <a:p>
                <a:pPr eaLnBrk="1" hangingPunct="1">
                  <a:lnSpc>
                    <a:spcPct val="75000"/>
                  </a:lnSpc>
                </a:pPr>
                <a:endParaRPr lang="pt-BR" altLang="en-US" sz="1600" dirty="0">
                  <a:solidFill>
                    <a:srgbClr val="3C3C3C"/>
                  </a:solidFill>
                  <a:latin typeface="Votorantim Sans" charset="0"/>
                  <a:ea typeface="DengXian" panose="02010600030101010101" pitchFamily="2" charset="-122"/>
                  <a:cs typeface="DengXian" panose="02010600030101010101" pitchFamily="2" charset="-122"/>
                </a:endParaRPr>
              </a:p>
              <a:p>
                <a:pPr eaLnBrk="1" hangingPunct="1">
                  <a:lnSpc>
                    <a:spcPct val="75000"/>
                  </a:lnSpc>
                  <a:spcAft>
                    <a:spcPts val="800"/>
                  </a:spcAft>
                </a:pPr>
                <a:r>
                  <a:rPr lang="es-ES" altLang="en-US" sz="1600" dirty="0">
                    <a:solidFill>
                      <a:srgbClr val="3C3C3C"/>
                    </a:solidFill>
                    <a:latin typeface="Votorantim Sans" charset="0"/>
                    <a:ea typeface="DengXian" panose="02010600030101010101" pitchFamily="2" charset="-122"/>
                    <a:cs typeface="DengXian" panose="02010600030101010101" pitchFamily="2" charset="-122"/>
                  </a:rPr>
                  <a:t>Alcanzar el </a:t>
                </a:r>
                <a:r>
                  <a:rPr lang="es-ES" altLang="en-US" sz="1600" b="1" dirty="0">
                    <a:solidFill>
                      <a:srgbClr val="3C3C3C"/>
                    </a:solidFill>
                    <a:latin typeface="Votorantim Sans" charset="0"/>
                    <a:ea typeface="DengXian" panose="02010600030101010101" pitchFamily="2" charset="-122"/>
                    <a:cs typeface="DengXian" panose="02010600030101010101" pitchFamily="2" charset="-122"/>
                  </a:rPr>
                  <a:t>cero neto </a:t>
                </a:r>
                <a:r>
                  <a:rPr lang="es-ES" altLang="en-US" sz="1600" dirty="0">
                    <a:solidFill>
                      <a:srgbClr val="3C3C3C"/>
                    </a:solidFill>
                    <a:latin typeface="Votorantim Sans" charset="0"/>
                    <a:ea typeface="DengXian" panose="02010600030101010101" pitchFamily="2" charset="-122"/>
                    <a:cs typeface="DengXian" panose="02010600030101010101" pitchFamily="2" charset="-122"/>
                  </a:rPr>
                  <a:t>hasta el </a:t>
                </a:r>
                <a:r>
                  <a:rPr lang="es-ES" altLang="en-US" sz="1600" b="1" dirty="0">
                    <a:solidFill>
                      <a:srgbClr val="3C3C3C"/>
                    </a:solidFill>
                    <a:latin typeface="Votorantim Sans" charset="0"/>
                    <a:ea typeface="DengXian" panose="02010600030101010101" pitchFamily="2" charset="-122"/>
                    <a:cs typeface="DengXian" panose="02010600030101010101" pitchFamily="2" charset="-122"/>
                  </a:rPr>
                  <a:t>2050</a:t>
                </a:r>
                <a:r>
                  <a:rPr lang="en-US" altLang="en-US" sz="1600" b="1" dirty="0">
                    <a:solidFill>
                      <a:srgbClr val="3C3C3C"/>
                    </a:solidFill>
                    <a:latin typeface="Votorantim Sans" charset="0"/>
                    <a:ea typeface="DengXian" panose="02010600030101010101" pitchFamily="2" charset="-122"/>
                    <a:cs typeface="DengXian" panose="02010600030101010101" pitchFamily="2" charset="-122"/>
                  </a:rPr>
                  <a:t>.</a:t>
                </a:r>
                <a:endParaRPr lang="en-US" altLang="en-US" sz="1600" dirty="0">
                  <a:solidFill>
                    <a:srgbClr val="3C3C3C"/>
                  </a:solidFill>
                  <a:latin typeface="Votorantim Sans" charset="0"/>
                  <a:ea typeface="DengXian" panose="02010600030101010101" pitchFamily="2" charset="-122"/>
                  <a:cs typeface="DengXian" panose="02010600030101010101" pitchFamily="2" charset="-122"/>
                </a:endParaRPr>
              </a:p>
              <a:p>
                <a:pPr lvl="0">
                  <a:lnSpc>
                    <a:spcPct val="75000"/>
                  </a:lnSpc>
                  <a:spcAft>
                    <a:spcPts val="1500"/>
                  </a:spcAft>
                </a:pPr>
                <a:endParaRPr lang="en-US" sz="1600" b="1" dirty="0">
                  <a:solidFill>
                    <a:srgbClr val="3C3C3C"/>
                  </a:solidFill>
                  <a:effectLst/>
                  <a:latin typeface="Votorantim Sans" panose="020B0604020202020204" charset="0"/>
                  <a:ea typeface="DengXian" panose="02010600030101010101" pitchFamily="2" charset="-122"/>
                  <a:cs typeface="Arial" panose="020B0604020202020204" pitchFamily="34" charset="0"/>
                </a:endParaRPr>
              </a:p>
            </p:txBody>
          </p:sp>
          <p:sp>
            <p:nvSpPr>
              <p:cNvPr id="69" name="CuadroTexto 8">
                <a:extLst>
                  <a:ext uri="{FF2B5EF4-FFF2-40B4-BE49-F238E27FC236}">
                    <a16:creationId xmlns:a16="http://schemas.microsoft.com/office/drawing/2014/main" id="{4119C208-4C7D-6BB6-A510-8DD6E9A10A9E}"/>
                  </a:ext>
                </a:extLst>
              </p:cNvPr>
              <p:cNvSpPr txBox="1"/>
              <p:nvPr/>
            </p:nvSpPr>
            <p:spPr>
              <a:xfrm>
                <a:off x="1284597" y="4083811"/>
                <a:ext cx="5570885" cy="836447"/>
              </a:xfrm>
              <a:prstGeom prst="rect">
                <a:avLst/>
              </a:prstGeom>
              <a:noFill/>
            </p:spPr>
            <p:txBody>
              <a:bodyPr wrap="square" rtlCol="0">
                <a:spAutoFit/>
              </a:bodyPr>
              <a:lstStyle/>
              <a:p>
                <a:pPr eaLnBrk="1" hangingPunct="1">
                  <a:lnSpc>
                    <a:spcPct val="75000"/>
                  </a:lnSpc>
                  <a:spcBef>
                    <a:spcPct val="0"/>
                  </a:spcBef>
                  <a:buFontTx/>
                  <a:buNone/>
                </a:pPr>
                <a:r>
                  <a:rPr lang="es-PE" altLang="en-US" sz="3200" b="1" dirty="0">
                    <a:solidFill>
                      <a:srgbClr val="FF5000"/>
                    </a:solidFill>
                    <a:latin typeface="Votorantim Sans" charset="0"/>
                    <a:ea typeface="Verdana" panose="020B0604030504040204" pitchFamily="34" charset="0"/>
                    <a:cs typeface="Verdana" panose="020B0604030504040204" pitchFamily="34" charset="0"/>
                  </a:rPr>
                  <a:t>Reducción</a:t>
                </a:r>
                <a:br>
                  <a:rPr lang="es-PE" altLang="en-US" sz="3200" b="1" dirty="0">
                    <a:solidFill>
                      <a:srgbClr val="FF5000"/>
                    </a:solidFill>
                    <a:latin typeface="Votorantim Sans" charset="0"/>
                    <a:ea typeface="Verdana" panose="020B0604030504040204" pitchFamily="34" charset="0"/>
                    <a:cs typeface="Verdana" panose="020B0604030504040204" pitchFamily="34" charset="0"/>
                  </a:rPr>
                </a:br>
                <a:r>
                  <a:rPr lang="es-PE" altLang="en-US" sz="3200" b="1" dirty="0">
                    <a:solidFill>
                      <a:srgbClr val="FF5000"/>
                    </a:solidFill>
                    <a:latin typeface="Votorantim Sans" charset="0"/>
                    <a:ea typeface="Verdana" panose="020B0604030504040204" pitchFamily="34" charset="0"/>
                    <a:cs typeface="Verdana" panose="020B0604030504040204" pitchFamily="34" charset="0"/>
                  </a:rPr>
                  <a:t> de emisiones</a:t>
                </a:r>
              </a:p>
            </p:txBody>
          </p:sp>
          <p:cxnSp>
            <p:nvCxnSpPr>
              <p:cNvPr id="70" name="Straight Connector 24">
                <a:extLst>
                  <a:ext uri="{FF2B5EF4-FFF2-40B4-BE49-F238E27FC236}">
                    <a16:creationId xmlns:a16="http://schemas.microsoft.com/office/drawing/2014/main" id="{7AE6C009-08A8-FAB7-D867-35A8F612F6B7}"/>
                  </a:ext>
                </a:extLst>
              </p:cNvPr>
              <p:cNvCxnSpPr>
                <a:cxnSpLocks/>
              </p:cNvCxnSpPr>
              <p:nvPr/>
            </p:nvCxnSpPr>
            <p:spPr>
              <a:xfrm flipH="1">
                <a:off x="1377466" y="6017502"/>
                <a:ext cx="497285" cy="0"/>
              </a:xfrm>
              <a:prstGeom prst="line">
                <a:avLst/>
              </a:prstGeom>
              <a:ln w="19050">
                <a:solidFill>
                  <a:srgbClr val="FF5000"/>
                </a:solidFill>
              </a:ln>
            </p:spPr>
            <p:style>
              <a:lnRef idx="1">
                <a:schemeClr val="accent1"/>
              </a:lnRef>
              <a:fillRef idx="0">
                <a:schemeClr val="accent1"/>
              </a:fillRef>
              <a:effectRef idx="0">
                <a:schemeClr val="accent1"/>
              </a:effectRef>
              <a:fontRef idx="minor">
                <a:schemeClr val="tx1"/>
              </a:fontRef>
            </p:style>
          </p:cxnSp>
          <p:cxnSp>
            <p:nvCxnSpPr>
              <p:cNvPr id="71" name="Straight Connector 24">
                <a:extLst>
                  <a:ext uri="{FF2B5EF4-FFF2-40B4-BE49-F238E27FC236}">
                    <a16:creationId xmlns:a16="http://schemas.microsoft.com/office/drawing/2014/main" id="{EFA567BB-1DA0-2F0F-A9D4-B3775F2934A4}"/>
                  </a:ext>
                </a:extLst>
              </p:cNvPr>
              <p:cNvCxnSpPr>
                <a:cxnSpLocks/>
              </p:cNvCxnSpPr>
              <p:nvPr/>
            </p:nvCxnSpPr>
            <p:spPr>
              <a:xfrm flipH="1">
                <a:off x="1377466" y="6555664"/>
                <a:ext cx="497285" cy="0"/>
              </a:xfrm>
              <a:prstGeom prst="line">
                <a:avLst/>
              </a:prstGeom>
              <a:ln w="19050">
                <a:solidFill>
                  <a:srgbClr val="FF5000"/>
                </a:solidFill>
              </a:ln>
            </p:spPr>
            <p:style>
              <a:lnRef idx="1">
                <a:schemeClr val="accent1"/>
              </a:lnRef>
              <a:fillRef idx="0">
                <a:schemeClr val="accent1"/>
              </a:fillRef>
              <a:effectRef idx="0">
                <a:schemeClr val="accent1"/>
              </a:effectRef>
              <a:fontRef idx="minor">
                <a:schemeClr val="tx1"/>
              </a:fontRef>
            </p:style>
          </p:cxnSp>
        </p:grpSp>
      </p:grpSp>
      <p:grpSp>
        <p:nvGrpSpPr>
          <p:cNvPr id="74" name="Grupo 73">
            <a:extLst>
              <a:ext uri="{FF2B5EF4-FFF2-40B4-BE49-F238E27FC236}">
                <a16:creationId xmlns:a16="http://schemas.microsoft.com/office/drawing/2014/main" id="{44E670B2-C114-181F-A442-5400A35BA9F1}"/>
              </a:ext>
            </a:extLst>
          </p:cNvPr>
          <p:cNvGrpSpPr/>
          <p:nvPr/>
        </p:nvGrpSpPr>
        <p:grpSpPr>
          <a:xfrm>
            <a:off x="6275125" y="3975738"/>
            <a:ext cx="5803541" cy="2441255"/>
            <a:chOff x="6275125" y="3975738"/>
            <a:chExt cx="5803541" cy="2441255"/>
          </a:xfrm>
        </p:grpSpPr>
        <p:grpSp>
          <p:nvGrpSpPr>
            <p:cNvPr id="75" name="Agrupar 52">
              <a:extLst>
                <a:ext uri="{FF2B5EF4-FFF2-40B4-BE49-F238E27FC236}">
                  <a16:creationId xmlns:a16="http://schemas.microsoft.com/office/drawing/2014/main" id="{B03097EC-5506-209B-BFB6-FD4CB05DC970}"/>
                </a:ext>
              </a:extLst>
            </p:cNvPr>
            <p:cNvGrpSpPr/>
            <p:nvPr/>
          </p:nvGrpSpPr>
          <p:grpSpPr>
            <a:xfrm>
              <a:off x="6275125" y="3975738"/>
              <a:ext cx="677488" cy="651501"/>
              <a:chOff x="4148419" y="5121146"/>
              <a:chExt cx="677488" cy="651501"/>
            </a:xfrm>
          </p:grpSpPr>
          <p:pic>
            <p:nvPicPr>
              <p:cNvPr id="79" name="Gráfico 78">
                <a:extLst>
                  <a:ext uri="{FF2B5EF4-FFF2-40B4-BE49-F238E27FC236}">
                    <a16:creationId xmlns:a16="http://schemas.microsoft.com/office/drawing/2014/main" id="{F36C26C2-956A-61DF-7BCE-6BF5765656E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148419" y="5121146"/>
                <a:ext cx="677488" cy="613401"/>
              </a:xfrm>
              <a:prstGeom prst="rect">
                <a:avLst/>
              </a:prstGeom>
            </p:spPr>
          </p:pic>
          <p:cxnSp>
            <p:nvCxnSpPr>
              <p:cNvPr id="80" name="Conector reto 49">
                <a:extLst>
                  <a:ext uri="{FF2B5EF4-FFF2-40B4-BE49-F238E27FC236}">
                    <a16:creationId xmlns:a16="http://schemas.microsoft.com/office/drawing/2014/main" id="{7F1C3EF9-4F74-FA8B-FB5A-9724C84A1E0C}"/>
                  </a:ext>
                </a:extLst>
              </p:cNvPr>
              <p:cNvCxnSpPr>
                <a:cxnSpLocks/>
              </p:cNvCxnSpPr>
              <p:nvPr/>
            </p:nvCxnSpPr>
            <p:spPr>
              <a:xfrm>
                <a:off x="4213748" y="5772647"/>
                <a:ext cx="574192" cy="0"/>
              </a:xfrm>
              <a:prstGeom prst="line">
                <a:avLst/>
              </a:prstGeom>
              <a:ln w="38100">
                <a:solidFill>
                  <a:srgbClr val="FF5000"/>
                </a:solidFill>
              </a:ln>
            </p:spPr>
            <p:style>
              <a:lnRef idx="1">
                <a:schemeClr val="accent1"/>
              </a:lnRef>
              <a:fillRef idx="0">
                <a:schemeClr val="accent1"/>
              </a:fillRef>
              <a:effectRef idx="0">
                <a:schemeClr val="accent1"/>
              </a:effectRef>
              <a:fontRef idx="minor">
                <a:schemeClr val="tx1"/>
              </a:fontRef>
            </p:style>
          </p:cxnSp>
        </p:grpSp>
        <p:grpSp>
          <p:nvGrpSpPr>
            <p:cNvPr id="76" name="Group 67">
              <a:extLst>
                <a:ext uri="{FF2B5EF4-FFF2-40B4-BE49-F238E27FC236}">
                  <a16:creationId xmlns:a16="http://schemas.microsoft.com/office/drawing/2014/main" id="{EF37BD06-352C-F792-A437-97D744C99D53}"/>
                </a:ext>
              </a:extLst>
            </p:cNvPr>
            <p:cNvGrpSpPr/>
            <p:nvPr/>
          </p:nvGrpSpPr>
          <p:grpSpPr>
            <a:xfrm>
              <a:off x="6897367" y="4044764"/>
              <a:ext cx="5181299" cy="2372229"/>
              <a:chOff x="6333789" y="4083811"/>
              <a:chExt cx="5181299" cy="2372229"/>
            </a:xfrm>
          </p:grpSpPr>
          <p:sp>
            <p:nvSpPr>
              <p:cNvPr id="77" name="CaixaDeTexto 32">
                <a:extLst>
                  <a:ext uri="{FF2B5EF4-FFF2-40B4-BE49-F238E27FC236}">
                    <a16:creationId xmlns:a16="http://schemas.microsoft.com/office/drawing/2014/main" id="{45780099-8DCC-82AA-E5E9-32E9145FEAE5}"/>
                  </a:ext>
                </a:extLst>
              </p:cNvPr>
              <p:cNvSpPr txBox="1"/>
              <p:nvPr/>
            </p:nvSpPr>
            <p:spPr>
              <a:xfrm>
                <a:off x="6333789" y="4970825"/>
                <a:ext cx="4203886" cy="1485215"/>
              </a:xfrm>
              <a:prstGeom prst="rect">
                <a:avLst/>
              </a:prstGeom>
              <a:noFill/>
            </p:spPr>
            <p:txBody>
              <a:bodyPr wrap="square" rtlCol="0">
                <a:spAutoFit/>
              </a:bodyPr>
              <a:lstStyle>
                <a:defPPr>
                  <a:defRPr lang="es-ES_tradnl"/>
                </a:defPPr>
                <a:lvl1pPr marL="285750" marR="0" lvl="0" indent="-285750" algn="just" fontAlgn="auto">
                  <a:lnSpc>
                    <a:spcPct val="100000"/>
                  </a:lnSpc>
                  <a:spcBef>
                    <a:spcPts val="300"/>
                  </a:spcBef>
                  <a:spcAft>
                    <a:spcPts val="0"/>
                  </a:spcAft>
                  <a:buClrTx/>
                  <a:buSzTx/>
                  <a:buFont typeface="Arial" panose="020B0604020202020204" pitchFamily="34" charset="0"/>
                  <a:buChar char="•"/>
                  <a:tabLst/>
                  <a:defRPr kumimoji="0" sz="1300" b="1" i="0" u="none" strike="noStrike" cap="none" spc="0" normalizeH="0" baseline="0">
                    <a:ln>
                      <a:noFill/>
                    </a:ln>
                    <a:solidFill>
                      <a:schemeClr val="bg1">
                        <a:lumMod val="95000"/>
                      </a:schemeClr>
                    </a:solidFill>
                    <a:effectLst/>
                    <a:uLnTx/>
                    <a:uFillTx/>
                    <a:latin typeface="Verdana" panose="020B0604030504040204" pitchFamily="34" charset="0"/>
                    <a:ea typeface="Verdana" panose="020B0604030504040204" pitchFamily="34" charset="0"/>
                  </a:defRPr>
                </a:lvl1pPr>
              </a:lstStyle>
              <a:p>
                <a:pPr marL="0" lvl="0" indent="0" algn="l">
                  <a:lnSpc>
                    <a:spcPct val="75000"/>
                  </a:lnSpc>
                  <a:spcAft>
                    <a:spcPts val="800"/>
                  </a:spcAft>
                  <a:buNone/>
                </a:pPr>
                <a:r>
                  <a:rPr lang="es-ES" sz="1600" b="0" dirty="0">
                    <a:solidFill>
                      <a:srgbClr val="3C3C3C"/>
                    </a:solidFill>
                    <a:latin typeface="Votorantim Sans" panose="020B0604020202020204" charset="0"/>
                    <a:ea typeface="DengXian" panose="02010600030101010101" pitchFamily="2" charset="-122"/>
                    <a:cs typeface="Arial" panose="020B0604020202020204" pitchFamily="34" charset="0"/>
                  </a:rPr>
                  <a:t>Reducción del </a:t>
                </a:r>
                <a:r>
                  <a:rPr lang="es-ES" sz="1600" dirty="0">
                    <a:solidFill>
                      <a:srgbClr val="3C3C3C"/>
                    </a:solidFill>
                    <a:latin typeface="Votorantim Sans" panose="020B0604020202020204" charset="0"/>
                    <a:ea typeface="DengXian" panose="02010600030101010101" pitchFamily="2" charset="-122"/>
                    <a:cs typeface="Arial" panose="020B0604020202020204" pitchFamily="34" charset="0"/>
                  </a:rPr>
                  <a:t>10% en el consumo específico de agua</a:t>
                </a:r>
                <a:r>
                  <a:rPr lang="es-ES" sz="1600" b="0" dirty="0">
                    <a:solidFill>
                      <a:srgbClr val="3C3C3C"/>
                    </a:solidFill>
                    <a:latin typeface="Votorantim Sans" panose="020B0604020202020204" charset="0"/>
                    <a:ea typeface="DengXian" panose="02010600030101010101" pitchFamily="2" charset="-122"/>
                    <a:cs typeface="Arial" panose="020B0604020202020204" pitchFamily="34" charset="0"/>
                  </a:rPr>
                  <a:t>:</a:t>
                </a:r>
              </a:p>
              <a:p>
                <a:pPr algn="l">
                  <a:lnSpc>
                    <a:spcPct val="75000"/>
                  </a:lnSpc>
                  <a:spcAft>
                    <a:spcPts val="800"/>
                  </a:spcAft>
                </a:pPr>
                <a:r>
                  <a:rPr lang="es-ES" sz="1600" dirty="0">
                    <a:solidFill>
                      <a:srgbClr val="3C3C3C"/>
                    </a:solidFill>
                    <a:latin typeface="Votorantim Sans" panose="020B0604020202020204" charset="0"/>
                    <a:ea typeface="DengXian" panose="02010600030101010101" pitchFamily="2" charset="-122"/>
                    <a:cs typeface="Arial" panose="020B0604020202020204" pitchFamily="34" charset="0"/>
                  </a:rPr>
                  <a:t>Minas: </a:t>
                </a:r>
                <a:r>
                  <a:rPr lang="es-ES" sz="1600" b="0" dirty="0">
                    <a:solidFill>
                      <a:srgbClr val="3C3C3C"/>
                    </a:solidFill>
                    <a:latin typeface="Votorantim Sans" panose="020B0604020202020204" charset="0"/>
                    <a:ea typeface="DengXian" panose="02010600030101010101" pitchFamily="2" charset="-122"/>
                    <a:cs typeface="Arial" panose="020B0604020202020204" pitchFamily="34" charset="0"/>
                  </a:rPr>
                  <a:t>de 1,68 m³/tonelada de ROM a 1,51 m³/tonelada de ROM</a:t>
                </a:r>
              </a:p>
              <a:p>
                <a:pPr algn="l">
                  <a:lnSpc>
                    <a:spcPct val="75000"/>
                  </a:lnSpc>
                  <a:spcAft>
                    <a:spcPts val="800"/>
                  </a:spcAft>
                </a:pPr>
                <a:r>
                  <a:rPr lang="es-ES" sz="1600" dirty="0">
                    <a:solidFill>
                      <a:srgbClr val="3C3C3C"/>
                    </a:solidFill>
                    <a:latin typeface="Votorantim Sans" panose="020B0604020202020204" charset="0"/>
                    <a:ea typeface="DengXian" panose="02010600030101010101" pitchFamily="2" charset="-122"/>
                    <a:cs typeface="Arial" panose="020B0604020202020204" pitchFamily="34" charset="0"/>
                  </a:rPr>
                  <a:t>Refinerías: </a:t>
                </a:r>
                <a:r>
                  <a:rPr lang="es-ES" sz="1600" b="0" dirty="0">
                    <a:solidFill>
                      <a:srgbClr val="3C3C3C"/>
                    </a:solidFill>
                    <a:latin typeface="Votorantim Sans" panose="020B0604020202020204" charset="0"/>
                    <a:ea typeface="DengXian" panose="02010600030101010101" pitchFamily="2" charset="-122"/>
                    <a:cs typeface="Arial" panose="020B0604020202020204" pitchFamily="34" charset="0"/>
                  </a:rPr>
                  <a:t>de 24,01 m³/tonelada de metal a 21,61 m³/tonelada de metal.</a:t>
                </a:r>
              </a:p>
            </p:txBody>
          </p:sp>
          <p:sp>
            <p:nvSpPr>
              <p:cNvPr id="78" name="CuadroTexto 8">
                <a:extLst>
                  <a:ext uri="{FF2B5EF4-FFF2-40B4-BE49-F238E27FC236}">
                    <a16:creationId xmlns:a16="http://schemas.microsoft.com/office/drawing/2014/main" id="{9C6E0E54-2B5B-25DD-A4C2-6AA3C4111F70}"/>
                  </a:ext>
                </a:extLst>
              </p:cNvPr>
              <p:cNvSpPr txBox="1"/>
              <p:nvPr/>
            </p:nvSpPr>
            <p:spPr>
              <a:xfrm>
                <a:off x="6333789" y="4083811"/>
                <a:ext cx="5181299" cy="836447"/>
              </a:xfrm>
              <a:prstGeom prst="rect">
                <a:avLst/>
              </a:prstGeom>
              <a:noFill/>
            </p:spPr>
            <p:txBody>
              <a:bodyPr wrap="square" rtlCol="0">
                <a:spAutoFit/>
              </a:bodyPr>
              <a:lstStyle>
                <a:defPPr>
                  <a:defRPr lang="en-US"/>
                </a:defPPr>
                <a:lvl1pPr defTabSz="1316553">
                  <a:lnSpc>
                    <a:spcPct val="75000"/>
                  </a:lnSpc>
                  <a:defRPr sz="3200" b="1">
                    <a:solidFill>
                      <a:srgbClr val="FF5000"/>
                    </a:solidFill>
                    <a:latin typeface="Votorantim Sans" panose="020B0604020202020204" charset="0"/>
                    <a:ea typeface="Verdana" charset="0"/>
                    <a:cs typeface="Verdana" charset="0"/>
                  </a:defRPr>
                </a:lvl1pPr>
              </a:lstStyle>
              <a:p>
                <a:pPr eaLnBrk="1" hangingPunct="1">
                  <a:lnSpc>
                    <a:spcPct val="75000"/>
                  </a:lnSpc>
                  <a:spcBef>
                    <a:spcPct val="0"/>
                  </a:spcBef>
                  <a:buFontTx/>
                  <a:buNone/>
                </a:pPr>
                <a:r>
                  <a:rPr lang="es-ES" altLang="en-US" sz="3200" b="1" dirty="0">
                    <a:solidFill>
                      <a:srgbClr val="FF5000"/>
                    </a:solidFill>
                    <a:latin typeface="Votorantim Sans" charset="0"/>
                    <a:ea typeface="Verdana" panose="020B0604030504040204" pitchFamily="34" charset="0"/>
                    <a:cs typeface="Verdana" panose="020B0604030504040204" pitchFamily="34" charset="0"/>
                  </a:rPr>
                  <a:t>Uso y disposición del agua</a:t>
                </a:r>
                <a:endParaRPr lang="en-US" altLang="en-US" sz="3200" b="1" dirty="0">
                  <a:solidFill>
                    <a:srgbClr val="FF5000"/>
                  </a:solidFill>
                  <a:latin typeface="Votorantim Sans" charset="0"/>
                  <a:ea typeface="Verdana" panose="020B0604030504040204" pitchFamily="34" charset="0"/>
                  <a:cs typeface="Verdana" panose="020B0604030504040204" pitchFamily="34" charset="0"/>
                </a:endParaRPr>
              </a:p>
            </p:txBody>
          </p:sp>
        </p:grpSp>
      </p:grpSp>
      <p:grpSp>
        <p:nvGrpSpPr>
          <p:cNvPr id="81" name="Grupo 80">
            <a:extLst>
              <a:ext uri="{FF2B5EF4-FFF2-40B4-BE49-F238E27FC236}">
                <a16:creationId xmlns:a16="http://schemas.microsoft.com/office/drawing/2014/main" id="{57E3F3B4-C427-770A-CE70-B1DB43FE9C74}"/>
              </a:ext>
            </a:extLst>
          </p:cNvPr>
          <p:cNvGrpSpPr/>
          <p:nvPr/>
        </p:nvGrpSpPr>
        <p:grpSpPr>
          <a:xfrm>
            <a:off x="6018713" y="6151068"/>
            <a:ext cx="3870405" cy="1995954"/>
            <a:chOff x="6018713" y="6151068"/>
            <a:chExt cx="3870405" cy="1995954"/>
          </a:xfrm>
        </p:grpSpPr>
        <p:pic>
          <p:nvPicPr>
            <p:cNvPr id="82" name="Picture 124" descr="Icon&#10;&#10;Description automatically generated">
              <a:extLst>
                <a:ext uri="{FF2B5EF4-FFF2-40B4-BE49-F238E27FC236}">
                  <a16:creationId xmlns:a16="http://schemas.microsoft.com/office/drawing/2014/main" id="{A5EE6F9A-E99D-74B8-27B7-98F984F48B8E}"/>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018713" y="6151068"/>
              <a:ext cx="972820" cy="972820"/>
            </a:xfrm>
            <a:prstGeom prst="rect">
              <a:avLst/>
            </a:prstGeom>
          </p:spPr>
        </p:pic>
        <p:grpSp>
          <p:nvGrpSpPr>
            <p:cNvPr id="83" name="Group 66">
              <a:extLst>
                <a:ext uri="{FF2B5EF4-FFF2-40B4-BE49-F238E27FC236}">
                  <a16:creationId xmlns:a16="http://schemas.microsoft.com/office/drawing/2014/main" id="{7ABB9878-ACBA-5274-87D2-D7B9F433953B}"/>
                </a:ext>
              </a:extLst>
            </p:cNvPr>
            <p:cNvGrpSpPr/>
            <p:nvPr/>
          </p:nvGrpSpPr>
          <p:grpSpPr>
            <a:xfrm>
              <a:off x="6897367" y="6551312"/>
              <a:ext cx="2991751" cy="1595710"/>
              <a:chOff x="6333789" y="6347712"/>
              <a:chExt cx="2991751" cy="1595710"/>
            </a:xfrm>
          </p:grpSpPr>
          <p:sp>
            <p:nvSpPr>
              <p:cNvPr id="84" name="CaixaDeTexto 20">
                <a:extLst>
                  <a:ext uri="{FF2B5EF4-FFF2-40B4-BE49-F238E27FC236}">
                    <a16:creationId xmlns:a16="http://schemas.microsoft.com/office/drawing/2014/main" id="{9FB205C1-5C99-7485-34A4-D2F26D74F1B6}"/>
                  </a:ext>
                </a:extLst>
              </p:cNvPr>
              <p:cNvSpPr txBox="1"/>
              <p:nvPr/>
            </p:nvSpPr>
            <p:spPr>
              <a:xfrm>
                <a:off x="6333790" y="6917307"/>
                <a:ext cx="2728915" cy="1026115"/>
              </a:xfrm>
              <a:prstGeom prst="rect">
                <a:avLst/>
              </a:prstGeom>
              <a:noFill/>
            </p:spPr>
            <p:txBody>
              <a:bodyPr wrap="square" rtlCol="0">
                <a:spAutoFit/>
              </a:bodyPr>
              <a:lstStyle>
                <a:defPPr>
                  <a:defRPr lang="es-ES_tradnl"/>
                </a:defPPr>
                <a:lvl1pPr marL="285750" marR="0" lvl="0" indent="-285750" algn="just" fontAlgn="auto">
                  <a:lnSpc>
                    <a:spcPct val="100000"/>
                  </a:lnSpc>
                  <a:spcBef>
                    <a:spcPts val="300"/>
                  </a:spcBef>
                  <a:spcAft>
                    <a:spcPts val="0"/>
                  </a:spcAft>
                  <a:buClrTx/>
                  <a:buSzTx/>
                  <a:buFont typeface="Arial" panose="020B0604020202020204" pitchFamily="34" charset="0"/>
                  <a:buChar char="•"/>
                  <a:tabLst/>
                  <a:defRPr kumimoji="0" sz="1300" b="1" i="0" u="none" strike="noStrike" cap="none" spc="0" normalizeH="0" baseline="0">
                    <a:ln>
                      <a:noFill/>
                    </a:ln>
                    <a:solidFill>
                      <a:schemeClr val="bg1">
                        <a:lumMod val="95000"/>
                      </a:schemeClr>
                    </a:solidFill>
                    <a:effectLst/>
                    <a:uLnTx/>
                    <a:uFillTx/>
                    <a:latin typeface="Verdana" panose="020B0604030504040204" pitchFamily="34" charset="0"/>
                    <a:ea typeface="Verdana" panose="020B0604030504040204" pitchFamily="34" charset="0"/>
                  </a:defRPr>
                </a:lvl1pPr>
              </a:lstStyle>
              <a:p>
                <a:pPr marL="0" lvl="0" indent="0" algn="l">
                  <a:lnSpc>
                    <a:spcPct val="75000"/>
                  </a:lnSpc>
                  <a:spcBef>
                    <a:spcPts val="1500"/>
                  </a:spcBef>
                  <a:buNone/>
                </a:pPr>
                <a:r>
                  <a:rPr lang="es-ES" sz="1600" dirty="0">
                    <a:solidFill>
                      <a:srgbClr val="3C3C3C"/>
                    </a:solidFill>
                    <a:latin typeface="Votorantim Sans" panose="020B0604020202020204" charset="0"/>
                    <a:ea typeface="DengXian" panose="02010600030101010101" pitchFamily="2" charset="-122"/>
                    <a:cs typeface="Arial" panose="020B0604020202020204" pitchFamily="34" charset="0"/>
                  </a:rPr>
                  <a:t>30% de mujeres </a:t>
                </a:r>
                <a:r>
                  <a:rPr lang="es-ES" sz="1600" b="0" dirty="0">
                    <a:solidFill>
                      <a:srgbClr val="3C3C3C"/>
                    </a:solidFill>
                    <a:latin typeface="Votorantim Sans" panose="020B0604020202020204" charset="0"/>
                    <a:ea typeface="DengXian" panose="02010600030101010101" pitchFamily="2" charset="-122"/>
                    <a:cs typeface="Arial" panose="020B0604020202020204" pitchFamily="34" charset="0"/>
                  </a:rPr>
                  <a:t>en </a:t>
                </a:r>
                <a:br>
                  <a:rPr lang="es-ES" sz="1600" b="0" dirty="0">
                    <a:solidFill>
                      <a:srgbClr val="3C3C3C"/>
                    </a:solidFill>
                    <a:latin typeface="Votorantim Sans" panose="020B0604020202020204" charset="0"/>
                    <a:ea typeface="DengXian" panose="02010600030101010101" pitchFamily="2" charset="-122"/>
                    <a:cs typeface="Arial" panose="020B0604020202020204" pitchFamily="34" charset="0"/>
                  </a:rPr>
                </a:br>
                <a:r>
                  <a:rPr lang="es-ES" sz="1600" b="0" dirty="0">
                    <a:solidFill>
                      <a:srgbClr val="3C3C3C"/>
                    </a:solidFill>
                    <a:latin typeface="Votorantim Sans" panose="020B0604020202020204" charset="0"/>
                    <a:ea typeface="DengXian" panose="02010600030101010101" pitchFamily="2" charset="-122"/>
                    <a:cs typeface="Arial" panose="020B0604020202020204" pitchFamily="34" charset="0"/>
                  </a:rPr>
                  <a:t>la fuerza de trabajo.</a:t>
                </a:r>
              </a:p>
              <a:p>
                <a:pPr marL="0" lvl="0" indent="0" algn="l">
                  <a:lnSpc>
                    <a:spcPct val="75000"/>
                  </a:lnSpc>
                  <a:spcBef>
                    <a:spcPts val="1500"/>
                  </a:spcBef>
                  <a:buNone/>
                </a:pPr>
                <a:r>
                  <a:rPr lang="es-ES" sz="1600" dirty="0">
                    <a:solidFill>
                      <a:srgbClr val="3C3C3C"/>
                    </a:solidFill>
                    <a:latin typeface="Votorantim Sans" panose="020B0604020202020204" charset="0"/>
                    <a:ea typeface="DengXian" panose="02010600030101010101" pitchFamily="2" charset="-122"/>
                    <a:cs typeface="Arial" panose="020B0604020202020204" pitchFamily="34" charset="0"/>
                  </a:rPr>
                  <a:t>30% de mujeres </a:t>
                </a:r>
                <a:r>
                  <a:rPr lang="es-ES" sz="1600" b="0" dirty="0">
                    <a:solidFill>
                      <a:srgbClr val="3C3C3C"/>
                    </a:solidFill>
                    <a:latin typeface="Votorantim Sans" panose="020B0604020202020204" charset="0"/>
                    <a:ea typeface="DengXian" panose="02010600030101010101" pitchFamily="2" charset="-122"/>
                    <a:cs typeface="Arial" panose="020B0604020202020204" pitchFamily="34" charset="0"/>
                  </a:rPr>
                  <a:t>en</a:t>
                </a:r>
                <a:r>
                  <a:rPr lang="es-ES" sz="1600" b="0" dirty="0">
                    <a:solidFill>
                      <a:srgbClr val="3C3C3C"/>
                    </a:solidFill>
                    <a:latin typeface="Votorantim Sans" panose="020B0604020202020204" charset="0"/>
                    <a:ea typeface="DengXian" panose="02010600030101010101" pitchFamily="2" charset="-122"/>
                  </a:rPr>
                  <a:t> </a:t>
                </a:r>
                <a:r>
                  <a:rPr lang="es-ES" sz="1600" b="0" dirty="0">
                    <a:solidFill>
                      <a:srgbClr val="3C3C3C"/>
                    </a:solidFill>
                    <a:latin typeface="Votorantim Sans" panose="020B0604020202020204" charset="0"/>
                    <a:ea typeface="DengXian" panose="02010600030101010101" pitchFamily="2" charset="-122"/>
                    <a:cs typeface="Arial" panose="020B0604020202020204" pitchFamily="34" charset="0"/>
                  </a:rPr>
                  <a:t>puestos de liderazgo.</a:t>
                </a:r>
              </a:p>
            </p:txBody>
          </p:sp>
          <p:sp>
            <p:nvSpPr>
              <p:cNvPr id="85" name="CuadroTexto 8">
                <a:extLst>
                  <a:ext uri="{FF2B5EF4-FFF2-40B4-BE49-F238E27FC236}">
                    <a16:creationId xmlns:a16="http://schemas.microsoft.com/office/drawing/2014/main" id="{B0BDBF79-2384-7464-CD97-14A8F11CCA26}"/>
                  </a:ext>
                </a:extLst>
              </p:cNvPr>
              <p:cNvSpPr txBox="1"/>
              <p:nvPr/>
            </p:nvSpPr>
            <p:spPr>
              <a:xfrm>
                <a:off x="6333789" y="6347712"/>
                <a:ext cx="2991751" cy="467116"/>
              </a:xfrm>
              <a:prstGeom prst="rect">
                <a:avLst/>
              </a:prstGeom>
              <a:noFill/>
            </p:spPr>
            <p:txBody>
              <a:bodyPr wrap="square" rtlCol="0">
                <a:spAutoFit/>
              </a:bodyPr>
              <a:lstStyle/>
              <a:p>
                <a:pPr eaLnBrk="1" hangingPunct="1">
                  <a:lnSpc>
                    <a:spcPct val="75000"/>
                  </a:lnSpc>
                  <a:spcBef>
                    <a:spcPct val="0"/>
                  </a:spcBef>
                  <a:buFontTx/>
                  <a:buNone/>
                </a:pPr>
                <a:r>
                  <a:rPr lang="en-US" altLang="en-US" sz="3200" b="1" dirty="0" err="1">
                    <a:solidFill>
                      <a:srgbClr val="FF5000"/>
                    </a:solidFill>
                    <a:latin typeface="Votorantim Sans" charset="0"/>
                    <a:ea typeface="Verdana" panose="020B0604030504040204" pitchFamily="34" charset="0"/>
                    <a:cs typeface="Verdana" panose="020B0604030504040204" pitchFamily="34" charset="0"/>
                  </a:rPr>
                  <a:t>Pluralidad</a:t>
                </a:r>
                <a:endParaRPr lang="en-US" altLang="en-US" sz="3200" b="1" dirty="0">
                  <a:solidFill>
                    <a:srgbClr val="FF5000"/>
                  </a:solidFill>
                  <a:latin typeface="Votorantim Sans" charset="0"/>
                  <a:ea typeface="Verdana" panose="020B0604030504040204" pitchFamily="34" charset="0"/>
                  <a:cs typeface="Verdana" panose="020B0604030504040204" pitchFamily="34" charset="0"/>
                </a:endParaRPr>
              </a:p>
            </p:txBody>
          </p:sp>
          <p:cxnSp>
            <p:nvCxnSpPr>
              <p:cNvPr id="86" name="Straight Connector 24">
                <a:extLst>
                  <a:ext uri="{FF2B5EF4-FFF2-40B4-BE49-F238E27FC236}">
                    <a16:creationId xmlns:a16="http://schemas.microsoft.com/office/drawing/2014/main" id="{4479F12F-E0F4-9361-AEF5-7768C8DB2660}"/>
                  </a:ext>
                </a:extLst>
              </p:cNvPr>
              <p:cNvCxnSpPr>
                <a:cxnSpLocks/>
              </p:cNvCxnSpPr>
              <p:nvPr/>
            </p:nvCxnSpPr>
            <p:spPr>
              <a:xfrm flipH="1">
                <a:off x="6416339" y="7385052"/>
                <a:ext cx="497285" cy="0"/>
              </a:xfrm>
              <a:prstGeom prst="line">
                <a:avLst/>
              </a:prstGeom>
              <a:ln w="19050">
                <a:solidFill>
                  <a:srgbClr val="FF5000"/>
                </a:solidFill>
              </a:ln>
            </p:spPr>
            <p:style>
              <a:lnRef idx="1">
                <a:schemeClr val="accent1"/>
              </a:lnRef>
              <a:fillRef idx="0">
                <a:schemeClr val="accent1"/>
              </a:fillRef>
              <a:effectRef idx="0">
                <a:schemeClr val="accent1"/>
              </a:effectRef>
              <a:fontRef idx="minor">
                <a:schemeClr val="tx1"/>
              </a:fontRef>
            </p:style>
          </p:cxnSp>
        </p:grpSp>
      </p:grpSp>
      <p:grpSp>
        <p:nvGrpSpPr>
          <p:cNvPr id="87" name="Grupo 86">
            <a:extLst>
              <a:ext uri="{FF2B5EF4-FFF2-40B4-BE49-F238E27FC236}">
                <a16:creationId xmlns:a16="http://schemas.microsoft.com/office/drawing/2014/main" id="{B420B6D6-D13F-D717-B2D5-C232930329FD}"/>
              </a:ext>
            </a:extLst>
          </p:cNvPr>
          <p:cNvGrpSpPr/>
          <p:nvPr/>
        </p:nvGrpSpPr>
        <p:grpSpPr>
          <a:xfrm>
            <a:off x="645098" y="6639392"/>
            <a:ext cx="4865763" cy="2803614"/>
            <a:chOff x="645098" y="6639392"/>
            <a:chExt cx="4865763" cy="2803614"/>
          </a:xfrm>
        </p:grpSpPr>
        <p:pic>
          <p:nvPicPr>
            <p:cNvPr id="88" name="Picture 122" descr="Logo, icon&#10;&#10;Description automatically generated">
              <a:extLst>
                <a:ext uri="{FF2B5EF4-FFF2-40B4-BE49-F238E27FC236}">
                  <a16:creationId xmlns:a16="http://schemas.microsoft.com/office/drawing/2014/main" id="{FF4975C7-58D8-1941-EF83-8F849B0718F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45098" y="6639392"/>
              <a:ext cx="943345" cy="943345"/>
            </a:xfrm>
            <a:prstGeom prst="rect">
              <a:avLst/>
            </a:prstGeom>
          </p:spPr>
        </p:pic>
        <p:grpSp>
          <p:nvGrpSpPr>
            <p:cNvPr id="89" name="Group 65">
              <a:extLst>
                <a:ext uri="{FF2B5EF4-FFF2-40B4-BE49-F238E27FC236}">
                  <a16:creationId xmlns:a16="http://schemas.microsoft.com/office/drawing/2014/main" id="{4F6C124B-DCFD-8A29-9104-A4BCE2F337E6}"/>
                </a:ext>
              </a:extLst>
            </p:cNvPr>
            <p:cNvGrpSpPr/>
            <p:nvPr/>
          </p:nvGrpSpPr>
          <p:grpSpPr>
            <a:xfrm>
              <a:off x="1414985" y="7035574"/>
              <a:ext cx="4095876" cy="2407432"/>
              <a:chOff x="1242508" y="6923061"/>
              <a:chExt cx="4095876" cy="2407432"/>
            </a:xfrm>
          </p:grpSpPr>
          <p:sp>
            <p:nvSpPr>
              <p:cNvPr id="90" name="CaixaDeTexto 18">
                <a:extLst>
                  <a:ext uri="{FF2B5EF4-FFF2-40B4-BE49-F238E27FC236}">
                    <a16:creationId xmlns:a16="http://schemas.microsoft.com/office/drawing/2014/main" id="{6DE193DC-6248-5B2D-4FE8-32A71B31B681}"/>
                  </a:ext>
                </a:extLst>
              </p:cNvPr>
              <p:cNvSpPr txBox="1"/>
              <p:nvPr/>
            </p:nvSpPr>
            <p:spPr>
              <a:xfrm>
                <a:off x="1284598" y="7476139"/>
                <a:ext cx="4053786" cy="1854354"/>
              </a:xfrm>
              <a:prstGeom prst="rect">
                <a:avLst/>
              </a:prstGeom>
              <a:noFill/>
            </p:spPr>
            <p:txBody>
              <a:bodyPr wrap="square" rtlCol="0">
                <a:spAutoFit/>
              </a:bodyPr>
              <a:lstStyle>
                <a:defPPr>
                  <a:defRPr lang="es-ES_tradnl"/>
                </a:defPPr>
                <a:lvl1pPr marL="285750" marR="0" lvl="0" indent="-285750" algn="just" fontAlgn="auto">
                  <a:lnSpc>
                    <a:spcPct val="100000"/>
                  </a:lnSpc>
                  <a:spcBef>
                    <a:spcPts val="300"/>
                  </a:spcBef>
                  <a:spcAft>
                    <a:spcPts val="0"/>
                  </a:spcAft>
                  <a:buClrTx/>
                  <a:buSzTx/>
                  <a:buFont typeface="Arial" panose="020B0604020202020204" pitchFamily="34" charset="0"/>
                  <a:buChar char="•"/>
                  <a:tabLst/>
                  <a:defRPr kumimoji="0" sz="1300" b="1" i="0" u="none" strike="noStrike" cap="none" spc="0" normalizeH="0" baseline="0">
                    <a:ln>
                      <a:noFill/>
                    </a:ln>
                    <a:solidFill>
                      <a:schemeClr val="bg1">
                        <a:lumMod val="95000"/>
                      </a:schemeClr>
                    </a:solidFill>
                    <a:effectLst/>
                    <a:uLnTx/>
                    <a:uFillTx/>
                    <a:latin typeface="Verdana" panose="020B0604030504040204" pitchFamily="34" charset="0"/>
                    <a:ea typeface="Verdana" panose="020B0604030504040204" pitchFamily="34" charset="0"/>
                  </a:defRPr>
                </a:lvl1pPr>
              </a:lstStyle>
              <a:p>
                <a:pPr marL="0" indent="0" algn="l" rtl="0">
                  <a:buNone/>
                </a:pPr>
                <a:r>
                  <a:rPr lang="es-ES" sz="1600" b="1" i="0" u="none" strike="noStrike" kern="1200" baseline="0" dirty="0">
                    <a:solidFill>
                      <a:srgbClr val="3C3C3C"/>
                    </a:solidFill>
                    <a:latin typeface="Votorantim Sans" panose="020B0604020202020204" charset="0"/>
                  </a:rPr>
                  <a:t>Cero víctimas mortales </a:t>
                </a:r>
                <a:r>
                  <a:rPr lang="es-ES" sz="1600" b="0" i="0" u="none" strike="noStrike" kern="1200" baseline="0" dirty="0">
                    <a:solidFill>
                      <a:srgbClr val="3C3C3C"/>
                    </a:solidFill>
                    <a:latin typeface="Votorantim Sans" panose="020B0604020202020204" charset="0"/>
                  </a:rPr>
                  <a:t>en todas </a:t>
                </a:r>
                <a:br>
                  <a:rPr lang="es-ES" sz="1600" b="0" i="0" u="none" strike="noStrike" kern="1200" baseline="0" dirty="0">
                    <a:solidFill>
                      <a:srgbClr val="3C3C3C"/>
                    </a:solidFill>
                    <a:latin typeface="Votorantim Sans" panose="020B0604020202020204" charset="0"/>
                  </a:rPr>
                </a:br>
                <a:r>
                  <a:rPr lang="es-ES" sz="1600" b="0" i="0" u="none" strike="noStrike" kern="1200" baseline="0" dirty="0">
                    <a:solidFill>
                      <a:srgbClr val="3C3C3C"/>
                    </a:solidFill>
                    <a:latin typeface="Votorantim Sans" panose="020B0604020202020204" charset="0"/>
                  </a:rPr>
                  <a:t>las unidades operativas</a:t>
                </a:r>
                <a:r>
                  <a:rPr lang="en-US" sz="1600" b="0" i="0" u="none" strike="noStrike" kern="1200" baseline="0" dirty="0">
                    <a:solidFill>
                      <a:srgbClr val="3C3C3C"/>
                    </a:solidFill>
                    <a:latin typeface="Votorantim Sans" panose="020B0604020202020204" charset="0"/>
                  </a:rPr>
                  <a:t>.</a:t>
                </a:r>
              </a:p>
              <a:p>
                <a:pPr marL="0" indent="0" algn="l" rtl="0">
                  <a:buNone/>
                </a:pPr>
                <a:br>
                  <a:rPr lang="es-ES" sz="1600" dirty="0">
                    <a:solidFill>
                      <a:srgbClr val="3C3C3C"/>
                    </a:solidFill>
                    <a:latin typeface="Votorantim Sans" panose="020B0604020202020204" charset="0"/>
                  </a:rPr>
                </a:br>
                <a:r>
                  <a:rPr lang="es-ES" sz="1600" b="1" i="0" u="none" strike="noStrike" kern="1200" baseline="0" dirty="0">
                    <a:solidFill>
                      <a:srgbClr val="3C3C3C"/>
                    </a:solidFill>
                    <a:latin typeface="Votorantim Sans" panose="020B0604020202020204" charset="0"/>
                  </a:rPr>
                  <a:t>Consolidar todas las unidades en </a:t>
                </a:r>
                <a:br>
                  <a:rPr lang="es-ES" sz="1600" b="1" i="0" u="none" strike="noStrike" kern="1200" baseline="0" dirty="0">
                    <a:solidFill>
                      <a:srgbClr val="3C3C3C"/>
                    </a:solidFill>
                    <a:latin typeface="Votorantim Sans" panose="020B0604020202020204" charset="0"/>
                  </a:rPr>
                </a:br>
                <a:r>
                  <a:rPr lang="es-ES" sz="1600" b="1" i="0" u="none" strike="noStrike" kern="1200" baseline="0" dirty="0">
                    <a:solidFill>
                      <a:srgbClr val="3C3C3C"/>
                    </a:solidFill>
                    <a:latin typeface="Votorantim Sans" panose="020B0604020202020204" charset="0"/>
                  </a:rPr>
                  <a:t>el primer cuartil</a:t>
                </a:r>
                <a:r>
                  <a:rPr lang="es-ES" sz="1600" b="0" i="0" u="none" strike="noStrike" kern="1200" baseline="0" dirty="0">
                    <a:solidFill>
                      <a:srgbClr val="3C3C3C"/>
                    </a:solidFill>
                    <a:latin typeface="Votorantim Sans" panose="020B0604020202020204" charset="0"/>
                  </a:rPr>
                  <a:t> de la industria minera </a:t>
                </a:r>
                <a:br>
                  <a:rPr lang="es-ES" sz="1600" b="0" i="0" u="none" strike="noStrike" kern="1200" baseline="0" dirty="0">
                    <a:solidFill>
                      <a:srgbClr val="3C3C3C"/>
                    </a:solidFill>
                    <a:latin typeface="Votorantim Sans" panose="020B0604020202020204" charset="0"/>
                  </a:rPr>
                </a:br>
                <a:r>
                  <a:rPr lang="es-ES" sz="1600" b="0" i="0" u="none" strike="noStrike" kern="1200" baseline="0" dirty="0">
                    <a:solidFill>
                      <a:srgbClr val="3C3C3C"/>
                    </a:solidFill>
                    <a:latin typeface="Votorantim Sans" panose="020B0604020202020204" charset="0"/>
                  </a:rPr>
                  <a:t>en relación con la Tasa de Frecuencia </a:t>
                </a:r>
                <a:br>
                  <a:rPr lang="es-ES" sz="1600" b="0" i="0" u="none" strike="noStrike" kern="1200" baseline="0" dirty="0">
                    <a:solidFill>
                      <a:srgbClr val="3C3C3C"/>
                    </a:solidFill>
                    <a:latin typeface="Votorantim Sans" panose="020B0604020202020204" charset="0"/>
                  </a:rPr>
                </a:br>
                <a:r>
                  <a:rPr lang="es-ES" sz="1600" b="0" i="0" u="none" strike="noStrike" kern="1200" baseline="0" dirty="0">
                    <a:solidFill>
                      <a:srgbClr val="3C3C3C"/>
                    </a:solidFill>
                    <a:latin typeface="Votorantim Sans" panose="020B0604020202020204" charset="0"/>
                  </a:rPr>
                  <a:t>de Lesiones Reportables (“TRIFR”).</a:t>
                </a:r>
              </a:p>
            </p:txBody>
          </p:sp>
          <p:sp>
            <p:nvSpPr>
              <p:cNvPr id="91" name="CuadroTexto 8">
                <a:extLst>
                  <a:ext uri="{FF2B5EF4-FFF2-40B4-BE49-F238E27FC236}">
                    <a16:creationId xmlns:a16="http://schemas.microsoft.com/office/drawing/2014/main" id="{48C9A832-871D-CDFB-C865-35EC1DBBF082}"/>
                  </a:ext>
                </a:extLst>
              </p:cNvPr>
              <p:cNvSpPr txBox="1"/>
              <p:nvPr/>
            </p:nvSpPr>
            <p:spPr>
              <a:xfrm>
                <a:off x="1242508" y="6923061"/>
                <a:ext cx="2882828" cy="467116"/>
              </a:xfrm>
              <a:prstGeom prst="rect">
                <a:avLst/>
              </a:prstGeom>
              <a:noFill/>
            </p:spPr>
            <p:txBody>
              <a:bodyPr wrap="square" rtlCol="0">
                <a:spAutoFit/>
              </a:bodyPr>
              <a:lstStyle>
                <a:defPPr>
                  <a:defRPr lang="en-US"/>
                </a:defPPr>
                <a:lvl1pPr defTabSz="1316553">
                  <a:lnSpc>
                    <a:spcPct val="75000"/>
                  </a:lnSpc>
                  <a:defRPr sz="3200" b="1">
                    <a:solidFill>
                      <a:srgbClr val="FF5000"/>
                    </a:solidFill>
                    <a:latin typeface="Votorantim Sans" panose="020B0604020202020204" charset="0"/>
                    <a:ea typeface="Verdana" charset="0"/>
                    <a:cs typeface="Verdana" charset="0"/>
                  </a:defRPr>
                </a:lvl1pPr>
              </a:lstStyle>
              <a:p>
                <a:pPr eaLnBrk="1" hangingPunct="1">
                  <a:lnSpc>
                    <a:spcPct val="75000"/>
                  </a:lnSpc>
                  <a:spcBef>
                    <a:spcPct val="0"/>
                  </a:spcBef>
                  <a:buFontTx/>
                  <a:buNone/>
                </a:pPr>
                <a:r>
                  <a:rPr lang="en-US" altLang="en-US" sz="3200" b="1" dirty="0">
                    <a:solidFill>
                      <a:srgbClr val="FF5000"/>
                    </a:solidFill>
                    <a:latin typeface="Votorantim Sans" charset="0"/>
                    <a:ea typeface="Verdana" panose="020B0604030504040204" pitchFamily="34" charset="0"/>
                    <a:cs typeface="Verdana" panose="020B0604030504040204" pitchFamily="34" charset="0"/>
                  </a:rPr>
                  <a:t>Seguridad</a:t>
                </a:r>
              </a:p>
            </p:txBody>
          </p:sp>
          <p:cxnSp>
            <p:nvCxnSpPr>
              <p:cNvPr id="92" name="Straight Connector 24">
                <a:extLst>
                  <a:ext uri="{FF2B5EF4-FFF2-40B4-BE49-F238E27FC236}">
                    <a16:creationId xmlns:a16="http://schemas.microsoft.com/office/drawing/2014/main" id="{F033882D-62AF-4856-599D-CA2CFB845DF5}"/>
                  </a:ext>
                </a:extLst>
              </p:cNvPr>
              <p:cNvCxnSpPr>
                <a:cxnSpLocks/>
              </p:cNvCxnSpPr>
              <p:nvPr/>
            </p:nvCxnSpPr>
            <p:spPr>
              <a:xfrm flipH="1">
                <a:off x="1377466" y="8148606"/>
                <a:ext cx="497285" cy="0"/>
              </a:xfrm>
              <a:prstGeom prst="line">
                <a:avLst/>
              </a:prstGeom>
              <a:ln w="19050">
                <a:solidFill>
                  <a:srgbClr val="FF500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1685609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par>
                                <p:cTn id="8" presetID="42" presetClass="path" presetSubtype="0" accel="50000" decel="50000" fill="hold" nodeType="withEffect">
                                  <p:stCondLst>
                                    <p:cond delay="0"/>
                                  </p:stCondLst>
                                  <p:childTnLst>
                                    <p:animMotion origin="layout" path="M 0.03563 0 L -3.36347E-6 0 " pathEditMode="relative" rAng="0" ptsTypes="AA">
                                      <p:cBhvr>
                                        <p:cTn id="9" dur="1500" fill="hold"/>
                                        <p:tgtEl>
                                          <p:spTgt spid="34"/>
                                        </p:tgtEl>
                                        <p:attrNameLst>
                                          <p:attrName>ppt_x</p:attrName>
                                          <p:attrName>ppt_y</p:attrName>
                                        </p:attrNameLst>
                                      </p:cBhvr>
                                      <p:rCtr x="-1781" y="0"/>
                                    </p:animMotion>
                                  </p:childTnLst>
                                </p:cTn>
                              </p:par>
                              <p:par>
                                <p:cTn id="10" presetID="22" presetClass="entr" presetSubtype="4" fill="hold" nodeType="withEffect">
                                  <p:stCondLst>
                                    <p:cond delay="0"/>
                                  </p:stCondLst>
                                  <p:childTnLst>
                                    <p:set>
                                      <p:cBhvr>
                                        <p:cTn id="11" dur="1" fill="hold">
                                          <p:stCondLst>
                                            <p:cond delay="0"/>
                                          </p:stCondLst>
                                        </p:cTn>
                                        <p:tgtEl>
                                          <p:spTgt spid="58"/>
                                        </p:tgtEl>
                                        <p:attrNameLst>
                                          <p:attrName>style.visibility</p:attrName>
                                        </p:attrNameLst>
                                      </p:cBhvr>
                                      <p:to>
                                        <p:strVal val="visible"/>
                                      </p:to>
                                    </p:set>
                                    <p:animEffect transition="in" filter="wipe(down)">
                                      <p:cBhvr>
                                        <p:cTn id="12" dur="750"/>
                                        <p:tgtEl>
                                          <p:spTgt spid="58"/>
                                        </p:tgtEl>
                                      </p:cBhvr>
                                    </p:animEffect>
                                  </p:childTnLst>
                                </p:cTn>
                              </p:par>
                              <p:par>
                                <p:cTn id="13" presetID="10" presetClass="entr" presetSubtype="0" fill="hold" grpId="0" nodeType="withEffect">
                                  <p:stCondLst>
                                    <p:cond delay="3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par>
                                <p:cTn id="16" presetID="42" presetClass="path" presetSubtype="0" accel="50000" decel="50000" fill="hold" grpId="1" nodeType="withEffect">
                                  <p:stCondLst>
                                    <p:cond delay="0"/>
                                  </p:stCondLst>
                                  <p:childTnLst>
                                    <p:animMotion origin="layout" path="M -0.01926 8.03859E-7 L -2.13382E-6 8.03859E-7 " pathEditMode="relative" rAng="0" ptsTypes="AA">
                                      <p:cBhvr>
                                        <p:cTn id="17" dur="1500" fill="hold"/>
                                        <p:tgtEl>
                                          <p:spTgt spid="9"/>
                                        </p:tgtEl>
                                        <p:attrNameLst>
                                          <p:attrName>ppt_x</p:attrName>
                                          <p:attrName>ppt_y</p:attrName>
                                        </p:attrNameLst>
                                      </p:cBhvr>
                                      <p:rCtr x="958" y="0"/>
                                    </p:animMotion>
                                  </p:childTnLst>
                                </p:cTn>
                              </p:par>
                              <p:par>
                                <p:cTn id="18" presetID="10" presetClass="entr" presetSubtype="0" fill="hold" grpId="0" nodeType="withEffect">
                                  <p:stCondLst>
                                    <p:cond delay="100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childTnLst>
                          </p:cTn>
                        </p:par>
                        <p:par>
                          <p:cTn id="21" fill="hold" nodeType="afterGroup">
                            <p:stCondLst>
                              <p:cond delay="1500"/>
                            </p:stCondLst>
                            <p:childTnLst>
                              <p:par>
                                <p:cTn id="22" presetID="22" presetClass="entr" presetSubtype="8" fill="hold" nodeType="afterEffect">
                                  <p:stCondLst>
                                    <p:cond delay="0"/>
                                  </p:stCondLst>
                                  <p:childTnLst>
                                    <p:set>
                                      <p:cBhvr>
                                        <p:cTn id="23" dur="1" fill="hold">
                                          <p:stCondLst>
                                            <p:cond delay="0"/>
                                          </p:stCondLst>
                                        </p:cTn>
                                        <p:tgtEl>
                                          <p:spTgt spid="57"/>
                                        </p:tgtEl>
                                        <p:attrNameLst>
                                          <p:attrName>style.visibility</p:attrName>
                                        </p:attrNameLst>
                                      </p:cBhvr>
                                      <p:to>
                                        <p:strVal val="visible"/>
                                      </p:to>
                                    </p:set>
                                    <p:animEffect transition="in" filter="wipe(left)">
                                      <p:cBhvr>
                                        <p:cTn id="24" dur="1000"/>
                                        <p:tgtEl>
                                          <p:spTgt spid="57"/>
                                        </p:tgtEl>
                                      </p:cBhvr>
                                    </p:animEffect>
                                  </p:childTnLst>
                                </p:cTn>
                              </p:par>
                              <p:par>
                                <p:cTn id="25" presetID="22" presetClass="entr" presetSubtype="8" fill="hold" nodeType="withEffect">
                                  <p:stCondLst>
                                    <p:cond delay="500"/>
                                  </p:stCondLst>
                                  <p:childTnLst>
                                    <p:set>
                                      <p:cBhvr>
                                        <p:cTn id="26" dur="1" fill="hold">
                                          <p:stCondLst>
                                            <p:cond delay="0"/>
                                          </p:stCondLst>
                                        </p:cTn>
                                        <p:tgtEl>
                                          <p:spTgt spid="45"/>
                                        </p:tgtEl>
                                        <p:attrNameLst>
                                          <p:attrName>style.visibility</p:attrName>
                                        </p:attrNameLst>
                                      </p:cBhvr>
                                      <p:to>
                                        <p:strVal val="visible"/>
                                      </p:to>
                                    </p:set>
                                    <p:animEffect transition="in" filter="wipe(left)">
                                      <p:cBhvr>
                                        <p:cTn id="27" dur="1000"/>
                                        <p:tgtEl>
                                          <p:spTgt spid="45"/>
                                        </p:tgtEl>
                                      </p:cBhvr>
                                    </p:animEffect>
                                  </p:childTnLst>
                                </p:cTn>
                              </p:par>
                              <p:par>
                                <p:cTn id="28" presetID="22" presetClass="entr" presetSubtype="4" fill="hold" nodeType="withEffect">
                                  <p:stCondLst>
                                    <p:cond delay="1000"/>
                                  </p:stCondLst>
                                  <p:childTnLst>
                                    <p:set>
                                      <p:cBhvr>
                                        <p:cTn id="29" dur="1" fill="hold">
                                          <p:stCondLst>
                                            <p:cond delay="0"/>
                                          </p:stCondLst>
                                        </p:cTn>
                                        <p:tgtEl>
                                          <p:spTgt spid="59"/>
                                        </p:tgtEl>
                                        <p:attrNameLst>
                                          <p:attrName>style.visibility</p:attrName>
                                        </p:attrNameLst>
                                      </p:cBhvr>
                                      <p:to>
                                        <p:strVal val="visible"/>
                                      </p:to>
                                    </p:set>
                                    <p:animEffect transition="in" filter="wipe(down)">
                                      <p:cBhvr>
                                        <p:cTn id="30" dur="500"/>
                                        <p:tgtEl>
                                          <p:spTgt spid="59"/>
                                        </p:tgtEl>
                                      </p:cBhvr>
                                    </p:animEffect>
                                  </p:childTnLst>
                                </p:cTn>
                              </p:par>
                              <p:par>
                                <p:cTn id="31" presetID="10" presetClass="entr" presetSubtype="0" fill="hold" nodeType="withEffect">
                                  <p:stCondLst>
                                    <p:cond delay="1000"/>
                                  </p:stCondLst>
                                  <p:childTnLst>
                                    <p:set>
                                      <p:cBhvr>
                                        <p:cTn id="32" dur="1" fill="hold">
                                          <p:stCondLst>
                                            <p:cond delay="0"/>
                                          </p:stCondLst>
                                        </p:cTn>
                                        <p:tgtEl>
                                          <p:spTgt spid="41"/>
                                        </p:tgtEl>
                                        <p:attrNameLst>
                                          <p:attrName>style.visibility</p:attrName>
                                        </p:attrNameLst>
                                      </p:cBhvr>
                                      <p:to>
                                        <p:strVal val="visible"/>
                                      </p:to>
                                    </p:set>
                                    <p:animEffect transition="in" filter="fade">
                                      <p:cBhvr>
                                        <p:cTn id="33" dur="1000"/>
                                        <p:tgtEl>
                                          <p:spTgt spid="41"/>
                                        </p:tgtEl>
                                      </p:cBhvr>
                                    </p:animEffect>
                                  </p:childTnLst>
                                </p:cTn>
                              </p:par>
                              <p:par>
                                <p:cTn id="34" presetID="10" presetClass="entr" presetSubtype="0" fill="hold" nodeType="withEffect">
                                  <p:stCondLst>
                                    <p:cond delay="175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1000"/>
                                        <p:tgtEl>
                                          <p:spTgt spid="65"/>
                                        </p:tgtEl>
                                      </p:cBhvr>
                                    </p:animEffect>
                                  </p:childTnLst>
                                </p:cTn>
                              </p:par>
                              <p:par>
                                <p:cTn id="37" presetID="42" presetClass="path" presetSubtype="0" accel="50000" decel="50000" fill="hold" nodeType="withEffect">
                                  <p:stCondLst>
                                    <p:cond delay="1750"/>
                                  </p:stCondLst>
                                  <p:childTnLst>
                                    <p:animMotion origin="layout" path="M -0.01926 -4.24437E-6 L -2.73056E-6 -4.24437E-6 " pathEditMode="relative" rAng="0" ptsTypes="AA">
                                      <p:cBhvr>
                                        <p:cTn id="38" dur="1500" fill="hold"/>
                                        <p:tgtEl>
                                          <p:spTgt spid="65"/>
                                        </p:tgtEl>
                                        <p:attrNameLst>
                                          <p:attrName>ppt_x</p:attrName>
                                          <p:attrName>ppt_y</p:attrName>
                                        </p:attrNameLst>
                                      </p:cBhvr>
                                      <p:rCtr x="958" y="0"/>
                                    </p:animMotion>
                                  </p:childTnLst>
                                </p:cTn>
                              </p:par>
                              <p:par>
                                <p:cTn id="39" presetID="10" presetClass="entr" presetSubtype="0" fill="hold" nodeType="withEffect">
                                  <p:stCondLst>
                                    <p:cond delay="1750"/>
                                  </p:stCondLst>
                                  <p:childTnLst>
                                    <p:set>
                                      <p:cBhvr>
                                        <p:cTn id="40" dur="1" fill="hold">
                                          <p:stCondLst>
                                            <p:cond delay="0"/>
                                          </p:stCondLst>
                                        </p:cTn>
                                        <p:tgtEl>
                                          <p:spTgt spid="74"/>
                                        </p:tgtEl>
                                        <p:attrNameLst>
                                          <p:attrName>style.visibility</p:attrName>
                                        </p:attrNameLst>
                                      </p:cBhvr>
                                      <p:to>
                                        <p:strVal val="visible"/>
                                      </p:to>
                                    </p:set>
                                    <p:animEffect transition="in" filter="fade">
                                      <p:cBhvr>
                                        <p:cTn id="41" dur="1000"/>
                                        <p:tgtEl>
                                          <p:spTgt spid="74"/>
                                        </p:tgtEl>
                                      </p:cBhvr>
                                    </p:animEffect>
                                  </p:childTnLst>
                                </p:cTn>
                              </p:par>
                              <p:par>
                                <p:cTn id="42" presetID="42" presetClass="path" presetSubtype="0" accel="50000" decel="50000" fill="hold" nodeType="withEffect">
                                  <p:stCondLst>
                                    <p:cond delay="1750"/>
                                  </p:stCondLst>
                                  <p:childTnLst>
                                    <p:animMotion origin="layout" path="M -0.01925 -1.02894E-6 L -4.39421E-6 -1.02894E-6 " pathEditMode="relative" rAng="0" ptsTypes="AA">
                                      <p:cBhvr>
                                        <p:cTn id="43" dur="1500" fill="hold"/>
                                        <p:tgtEl>
                                          <p:spTgt spid="74"/>
                                        </p:tgtEl>
                                        <p:attrNameLst>
                                          <p:attrName>ppt_x</p:attrName>
                                          <p:attrName>ppt_y</p:attrName>
                                        </p:attrNameLst>
                                      </p:cBhvr>
                                      <p:rCtr x="958" y="0"/>
                                    </p:animMotion>
                                  </p:childTnLst>
                                </p:cTn>
                              </p:par>
                              <p:par>
                                <p:cTn id="44" presetID="10" presetClass="entr" presetSubtype="0" fill="hold" nodeType="withEffect">
                                  <p:stCondLst>
                                    <p:cond delay="2750"/>
                                  </p:stCondLst>
                                  <p:childTnLst>
                                    <p:set>
                                      <p:cBhvr>
                                        <p:cTn id="45" dur="1" fill="hold">
                                          <p:stCondLst>
                                            <p:cond delay="0"/>
                                          </p:stCondLst>
                                        </p:cTn>
                                        <p:tgtEl>
                                          <p:spTgt spid="87"/>
                                        </p:tgtEl>
                                        <p:attrNameLst>
                                          <p:attrName>style.visibility</p:attrName>
                                        </p:attrNameLst>
                                      </p:cBhvr>
                                      <p:to>
                                        <p:strVal val="visible"/>
                                      </p:to>
                                    </p:set>
                                    <p:animEffect transition="in" filter="fade">
                                      <p:cBhvr>
                                        <p:cTn id="46" dur="1000"/>
                                        <p:tgtEl>
                                          <p:spTgt spid="87"/>
                                        </p:tgtEl>
                                      </p:cBhvr>
                                    </p:animEffect>
                                  </p:childTnLst>
                                </p:cTn>
                              </p:par>
                              <p:par>
                                <p:cTn id="47" presetID="42" presetClass="path" presetSubtype="0" accel="50000" decel="50000" fill="hold" nodeType="withEffect">
                                  <p:stCondLst>
                                    <p:cond delay="2750"/>
                                  </p:stCondLst>
                                  <p:childTnLst>
                                    <p:animMotion origin="layout" path="M -0.01926 -2.02572E-6 L 3.96022E-6 -2.02572E-6 " pathEditMode="relative" rAng="0" ptsTypes="AA">
                                      <p:cBhvr>
                                        <p:cTn id="48" dur="1500" fill="hold"/>
                                        <p:tgtEl>
                                          <p:spTgt spid="87"/>
                                        </p:tgtEl>
                                        <p:attrNameLst>
                                          <p:attrName>ppt_x</p:attrName>
                                          <p:attrName>ppt_y</p:attrName>
                                        </p:attrNameLst>
                                      </p:cBhvr>
                                      <p:rCtr x="958" y="0"/>
                                    </p:animMotion>
                                  </p:childTnLst>
                                </p:cTn>
                              </p:par>
                              <p:par>
                                <p:cTn id="49" presetID="10" presetClass="entr" presetSubtype="0" fill="hold" nodeType="withEffect">
                                  <p:stCondLst>
                                    <p:cond delay="2750"/>
                                  </p:stCondLst>
                                  <p:childTnLst>
                                    <p:set>
                                      <p:cBhvr>
                                        <p:cTn id="50" dur="1" fill="hold">
                                          <p:stCondLst>
                                            <p:cond delay="0"/>
                                          </p:stCondLst>
                                        </p:cTn>
                                        <p:tgtEl>
                                          <p:spTgt spid="81"/>
                                        </p:tgtEl>
                                        <p:attrNameLst>
                                          <p:attrName>style.visibility</p:attrName>
                                        </p:attrNameLst>
                                      </p:cBhvr>
                                      <p:to>
                                        <p:strVal val="visible"/>
                                      </p:to>
                                    </p:set>
                                    <p:animEffect transition="in" filter="fade">
                                      <p:cBhvr>
                                        <p:cTn id="51" dur="1000"/>
                                        <p:tgtEl>
                                          <p:spTgt spid="81"/>
                                        </p:tgtEl>
                                      </p:cBhvr>
                                    </p:animEffect>
                                  </p:childTnLst>
                                </p:cTn>
                              </p:par>
                              <p:par>
                                <p:cTn id="52" presetID="42" presetClass="path" presetSubtype="0" accel="50000" decel="50000" fill="hold" nodeType="withEffect">
                                  <p:stCondLst>
                                    <p:cond delay="2750"/>
                                  </p:stCondLst>
                                  <p:childTnLst>
                                    <p:animMotion origin="layout" path="M -0.01925 -4.4373E-6 L -4.32188E-6 -4.4373E-6 " pathEditMode="relative" rAng="0" ptsTypes="AA">
                                      <p:cBhvr>
                                        <p:cTn id="53" dur="1500" fill="hold"/>
                                        <p:tgtEl>
                                          <p:spTgt spid="81"/>
                                        </p:tgtEl>
                                        <p:attrNameLst>
                                          <p:attrName>ppt_x</p:attrName>
                                          <p:attrName>ppt_y</p:attrName>
                                        </p:attrNameLst>
                                      </p:cBhvr>
                                      <p:rCtr x="95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4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2427078-BB5D-E2EF-958B-65E14E0AAA41}"/>
              </a:ext>
            </a:extLst>
          </p:cNvPr>
          <p:cNvGraphicFramePr>
            <a:graphicFrameLocks noChangeAspect="1"/>
          </p:cNvGraphicFramePr>
          <p:nvPr>
            <p:custDataLst>
              <p:tags r:id="rId1"/>
            </p:custDataLst>
          </p:nvPr>
        </p:nvGraphicFramePr>
        <p:xfrm>
          <a:off x="4051" y="2287"/>
          <a:ext cx="2286" cy="2286"/>
        </p:xfrm>
        <a:graphic>
          <a:graphicData uri="http://schemas.openxmlformats.org/presentationml/2006/ole">
            <mc:AlternateContent xmlns:mc="http://schemas.openxmlformats.org/markup-compatibility/2006">
              <mc:Choice xmlns:v="urn:schemas-microsoft-com:vml" Requires="v">
                <p:oleObj name="Diapositiva de think-cell" r:id="rId3" imgW="590" imgH="595" progId="TCLayout.ActiveDocument.1">
                  <p:embed/>
                </p:oleObj>
              </mc:Choice>
              <mc:Fallback>
                <p:oleObj name="Diapositiva de think-cell" r:id="rId3" imgW="590" imgH="595" progId="TCLayout.ActiveDocument.1">
                  <p:embed/>
                  <p:pic>
                    <p:nvPicPr>
                      <p:cNvPr id="6" name="think-cell data - do not delete" hidden="1">
                        <a:extLst>
                          <a:ext uri="{FF2B5EF4-FFF2-40B4-BE49-F238E27FC236}">
                            <a16:creationId xmlns:a16="http://schemas.microsoft.com/office/drawing/2014/main" id="{82427078-BB5D-E2EF-958B-65E14E0AAA41}"/>
                          </a:ext>
                        </a:extLst>
                      </p:cNvPr>
                      <p:cNvPicPr/>
                      <p:nvPr/>
                    </p:nvPicPr>
                    <p:blipFill>
                      <a:blip r:embed="rId4"/>
                      <a:stretch>
                        <a:fillRect/>
                      </a:stretch>
                    </p:blipFill>
                    <p:spPr>
                      <a:xfrm>
                        <a:off x="4051" y="2287"/>
                        <a:ext cx="2286" cy="2286"/>
                      </a:xfrm>
                      <a:prstGeom prst="rect">
                        <a:avLst/>
                      </a:prstGeom>
                    </p:spPr>
                  </p:pic>
                </p:oleObj>
              </mc:Fallback>
            </mc:AlternateContent>
          </a:graphicData>
        </a:graphic>
      </p:graphicFrame>
      <p:grpSp>
        <p:nvGrpSpPr>
          <p:cNvPr id="2" name="object 2"/>
          <p:cNvGrpSpPr/>
          <p:nvPr/>
        </p:nvGrpSpPr>
        <p:grpSpPr>
          <a:xfrm>
            <a:off x="1766" y="0"/>
            <a:ext cx="17554221" cy="9966043"/>
            <a:chOff x="1" y="0"/>
            <a:chExt cx="12191999" cy="6397496"/>
          </a:xfrm>
        </p:grpSpPr>
        <p:pic>
          <p:nvPicPr>
            <p:cNvPr id="3" name="object 3"/>
            <p:cNvPicPr/>
            <p:nvPr/>
          </p:nvPicPr>
          <p:blipFill>
            <a:blip r:embed="rId5" cstate="print"/>
            <a:stretch>
              <a:fillRect/>
            </a:stretch>
          </p:blipFill>
          <p:spPr>
            <a:xfrm>
              <a:off x="4805171" y="0"/>
              <a:ext cx="7382256" cy="5838444"/>
            </a:xfrm>
            <a:prstGeom prst="rect">
              <a:avLst/>
            </a:prstGeom>
          </p:spPr>
        </p:pic>
        <p:pic>
          <p:nvPicPr>
            <p:cNvPr id="4" name="object 4"/>
            <p:cNvPicPr/>
            <p:nvPr/>
          </p:nvPicPr>
          <p:blipFill>
            <a:blip r:embed="rId6" cstate="print"/>
            <a:stretch>
              <a:fillRect/>
            </a:stretch>
          </p:blipFill>
          <p:spPr>
            <a:xfrm>
              <a:off x="1" y="0"/>
              <a:ext cx="12191999" cy="6397496"/>
            </a:xfrm>
            <a:prstGeom prst="rect">
              <a:avLst/>
            </a:prstGeom>
          </p:spPr>
        </p:pic>
      </p:grpSp>
      <p:sp>
        <p:nvSpPr>
          <p:cNvPr id="5" name="object 5"/>
          <p:cNvSpPr txBox="1"/>
          <p:nvPr/>
        </p:nvSpPr>
        <p:spPr>
          <a:xfrm>
            <a:off x="624202" y="405920"/>
            <a:ext cx="6488331" cy="328678"/>
          </a:xfrm>
          <a:prstGeom prst="rect">
            <a:avLst/>
          </a:prstGeom>
        </p:spPr>
        <p:txBody>
          <a:bodyPr vert="horz" wrap="square" lIns="0" tIns="18286" rIns="0" bIns="0" rtlCol="0" anchor="t">
            <a:spAutoFit/>
          </a:bodyPr>
          <a:lstStyle/>
          <a:p>
            <a:pPr marL="18285" defTabSz="1316553" fontAlgn="auto">
              <a:spcBef>
                <a:spcPts val="144"/>
              </a:spcBef>
              <a:spcAft>
                <a:spcPts val="0"/>
              </a:spcAft>
              <a:defRPr/>
            </a:pPr>
            <a:r>
              <a:rPr lang="es-PE" sz="2016" b="1" spc="-22" noProof="1">
                <a:solidFill>
                  <a:schemeClr val="tx1">
                    <a:lumMod val="85000"/>
                    <a:lumOff val="15000"/>
                  </a:schemeClr>
                </a:solidFill>
                <a:latin typeface="Verdana"/>
                <a:cs typeface="Verdana"/>
              </a:rPr>
              <a:t>Algunos ejemplos en</a:t>
            </a:r>
            <a:r>
              <a:rPr lang="es-PE" sz="2016" b="1" spc="-36" noProof="1">
                <a:solidFill>
                  <a:schemeClr val="tx1">
                    <a:lumMod val="85000"/>
                    <a:lumOff val="15000"/>
                  </a:schemeClr>
                </a:solidFill>
                <a:latin typeface="Verdana"/>
                <a:cs typeface="Verdana"/>
              </a:rPr>
              <a:t> </a:t>
            </a:r>
            <a:r>
              <a:rPr lang="es-PE" sz="2016" b="1" noProof="1">
                <a:solidFill>
                  <a:schemeClr val="tx1">
                    <a:lumMod val="85000"/>
                    <a:lumOff val="15000"/>
                  </a:schemeClr>
                </a:solidFill>
                <a:latin typeface="Verdana"/>
                <a:cs typeface="Verdana"/>
              </a:rPr>
              <a:t>Gestión</a:t>
            </a:r>
            <a:r>
              <a:rPr lang="es-PE" sz="2016" b="1" spc="-72" noProof="1">
                <a:solidFill>
                  <a:schemeClr val="tx1">
                    <a:lumMod val="85000"/>
                    <a:lumOff val="15000"/>
                  </a:schemeClr>
                </a:solidFill>
                <a:latin typeface="Verdana"/>
                <a:cs typeface="Verdana"/>
              </a:rPr>
              <a:t> </a:t>
            </a:r>
            <a:r>
              <a:rPr lang="es-PE" sz="2016" b="1" noProof="1">
                <a:solidFill>
                  <a:schemeClr val="tx1">
                    <a:lumMod val="85000"/>
                    <a:lumOff val="15000"/>
                  </a:schemeClr>
                </a:solidFill>
                <a:latin typeface="Verdana"/>
                <a:cs typeface="Verdana"/>
              </a:rPr>
              <a:t>del</a:t>
            </a:r>
            <a:r>
              <a:rPr lang="es-PE" sz="2016" b="1" spc="-43" noProof="1">
                <a:solidFill>
                  <a:schemeClr val="tx1">
                    <a:lumMod val="85000"/>
                    <a:lumOff val="15000"/>
                  </a:schemeClr>
                </a:solidFill>
                <a:latin typeface="Verdana"/>
                <a:cs typeface="Verdana"/>
              </a:rPr>
              <a:t> </a:t>
            </a:r>
            <a:r>
              <a:rPr lang="es-PE" sz="2016" b="1" noProof="1">
                <a:solidFill>
                  <a:schemeClr val="tx1">
                    <a:lumMod val="85000"/>
                    <a:lumOff val="15000"/>
                  </a:schemeClr>
                </a:solidFill>
                <a:latin typeface="Verdana"/>
                <a:cs typeface="Verdana"/>
              </a:rPr>
              <a:t>Agua</a:t>
            </a:r>
          </a:p>
        </p:txBody>
      </p:sp>
      <p:sp>
        <p:nvSpPr>
          <p:cNvPr id="13" name="object 13"/>
          <p:cNvSpPr txBox="1">
            <a:spLocks noGrp="1"/>
          </p:cNvSpPr>
          <p:nvPr>
            <p:ph type="title"/>
          </p:nvPr>
        </p:nvSpPr>
        <p:spPr>
          <a:xfrm>
            <a:off x="484651" y="1276813"/>
            <a:ext cx="8623366" cy="1506134"/>
          </a:xfrm>
          <a:prstGeom prst="rect">
            <a:avLst/>
          </a:prstGeom>
        </p:spPr>
        <p:txBody>
          <a:bodyPr vert="horz" wrap="square" lIns="0" tIns="69485" rIns="0" bIns="0" numCol="1" rtlCol="0" anchor="t" anchorCtr="0" compatLnSpc="1">
            <a:prstTxWarp prst="textNoShape">
              <a:avLst/>
            </a:prstTxWarp>
            <a:spAutoFit/>
          </a:bodyPr>
          <a:lstStyle/>
          <a:p>
            <a:pPr marL="18285" marR="7314">
              <a:lnSpc>
                <a:spcPct val="90300"/>
              </a:lnSpc>
              <a:spcBef>
                <a:spcPts val="547"/>
              </a:spcBef>
            </a:pPr>
            <a:r>
              <a:rPr lang="es-PE" sz="3456" b="1" noProof="1">
                <a:solidFill>
                  <a:srgbClr val="3A3A3A"/>
                </a:solidFill>
                <a:latin typeface="Verdana"/>
                <a:cs typeface="Verdana"/>
              </a:rPr>
              <a:t>Actualmente recirculamos</a:t>
            </a:r>
            <a:r>
              <a:rPr lang="es-PE" sz="3456" b="1" spc="29" noProof="1">
                <a:solidFill>
                  <a:srgbClr val="3A3A3A"/>
                </a:solidFill>
                <a:latin typeface="Verdana"/>
                <a:cs typeface="Verdana"/>
              </a:rPr>
              <a:t> </a:t>
            </a:r>
            <a:r>
              <a:rPr lang="es-PE" sz="3456" b="1" noProof="1">
                <a:solidFill>
                  <a:srgbClr val="3A3A3A"/>
                </a:solidFill>
                <a:latin typeface="Verdana"/>
                <a:cs typeface="Verdana"/>
              </a:rPr>
              <a:t>más</a:t>
            </a:r>
            <a:r>
              <a:rPr lang="es-PE" sz="3456" b="1" spc="-43" noProof="1">
                <a:solidFill>
                  <a:srgbClr val="3A3A3A"/>
                </a:solidFill>
                <a:latin typeface="Verdana"/>
                <a:cs typeface="Verdana"/>
              </a:rPr>
              <a:t> </a:t>
            </a:r>
            <a:r>
              <a:rPr lang="es-PE" sz="3456" b="1" spc="-7" noProof="1">
                <a:solidFill>
                  <a:srgbClr val="3A3A3A"/>
                </a:solidFill>
                <a:latin typeface="Verdana"/>
                <a:cs typeface="Verdana"/>
              </a:rPr>
              <a:t>del</a:t>
            </a:r>
            <a:r>
              <a:rPr lang="es-PE" sz="3456" b="1" spc="-7" noProof="1">
                <a:solidFill>
                  <a:srgbClr val="3A3A3A"/>
                </a:solidFill>
              </a:rPr>
              <a:t> </a:t>
            </a:r>
            <a:r>
              <a:rPr lang="es-PE" sz="3456" b="1" spc="-7" noProof="1">
                <a:solidFill>
                  <a:srgbClr val="FF5000"/>
                </a:solidFill>
                <a:latin typeface="Verdana"/>
                <a:cs typeface="Verdana"/>
              </a:rPr>
              <a:t>90% </a:t>
            </a:r>
            <a:r>
              <a:rPr lang="es-PE" sz="3456" b="1" noProof="1">
                <a:solidFill>
                  <a:srgbClr val="FF5000"/>
                </a:solidFill>
                <a:latin typeface="Verdana"/>
                <a:cs typeface="Verdana"/>
              </a:rPr>
              <a:t>de </a:t>
            </a:r>
            <a:r>
              <a:rPr lang="es-PE" sz="3456" b="1" spc="-7" noProof="1">
                <a:solidFill>
                  <a:srgbClr val="FF5000"/>
                </a:solidFill>
                <a:latin typeface="Verdana"/>
                <a:cs typeface="Verdana"/>
              </a:rPr>
              <a:t>toda </a:t>
            </a:r>
            <a:r>
              <a:rPr lang="es-PE" sz="3456" b="1" noProof="1">
                <a:solidFill>
                  <a:srgbClr val="FF5000"/>
                </a:solidFill>
                <a:latin typeface="Verdana"/>
                <a:cs typeface="Verdana"/>
              </a:rPr>
              <a:t>el </a:t>
            </a:r>
            <a:r>
              <a:rPr lang="es-PE" sz="3456" b="1" spc="-7" noProof="1">
                <a:solidFill>
                  <a:srgbClr val="FF5000"/>
                </a:solidFill>
                <a:latin typeface="Verdana"/>
                <a:cs typeface="Verdana"/>
              </a:rPr>
              <a:t>agua</a:t>
            </a:r>
            <a:r>
              <a:rPr lang="es-PE" sz="3456" b="1" noProof="1">
                <a:solidFill>
                  <a:srgbClr val="FF5000"/>
                </a:solidFill>
                <a:latin typeface="Verdana"/>
                <a:cs typeface="Verdana"/>
              </a:rPr>
              <a:t> </a:t>
            </a:r>
            <a:r>
              <a:rPr lang="es-PE" sz="3456" b="1" spc="-7" noProof="1">
                <a:solidFill>
                  <a:srgbClr val="3A3A3A"/>
                </a:solidFill>
                <a:latin typeface="Verdana"/>
                <a:cs typeface="Verdana"/>
              </a:rPr>
              <a:t>utilizada</a:t>
            </a:r>
            <a:r>
              <a:rPr lang="es-PE" sz="3456" b="1" spc="-50" noProof="1">
                <a:solidFill>
                  <a:srgbClr val="3A3A3A"/>
                </a:solidFill>
                <a:latin typeface="Verdana"/>
                <a:cs typeface="Verdana"/>
              </a:rPr>
              <a:t> </a:t>
            </a:r>
            <a:r>
              <a:rPr lang="es-PE" sz="3456" b="1" noProof="1">
                <a:solidFill>
                  <a:srgbClr val="3A3A3A"/>
                </a:solidFill>
                <a:latin typeface="Verdana"/>
                <a:cs typeface="Verdana"/>
              </a:rPr>
              <a:t>en</a:t>
            </a:r>
            <a:r>
              <a:rPr lang="es-PE" sz="3456" b="1" spc="-36" noProof="1">
                <a:solidFill>
                  <a:srgbClr val="3A3A3A"/>
                </a:solidFill>
                <a:latin typeface="Verdana"/>
                <a:cs typeface="Verdana"/>
              </a:rPr>
              <a:t> </a:t>
            </a:r>
            <a:r>
              <a:rPr lang="es-PE" sz="3456" b="1" noProof="1">
                <a:solidFill>
                  <a:srgbClr val="3A3A3A"/>
                </a:solidFill>
                <a:latin typeface="Verdana"/>
                <a:cs typeface="Verdana"/>
              </a:rPr>
              <a:t>Cerro</a:t>
            </a:r>
            <a:r>
              <a:rPr lang="es-PE" sz="3456" b="1" spc="-72" noProof="1">
                <a:solidFill>
                  <a:srgbClr val="3A3A3A"/>
                </a:solidFill>
                <a:latin typeface="Verdana"/>
                <a:cs typeface="Verdana"/>
              </a:rPr>
              <a:t> </a:t>
            </a:r>
            <a:r>
              <a:rPr lang="es-PE" sz="3456" b="1" spc="-14" noProof="1">
                <a:solidFill>
                  <a:srgbClr val="3A3A3A"/>
                </a:solidFill>
                <a:latin typeface="Verdana"/>
                <a:cs typeface="Verdana"/>
              </a:rPr>
              <a:t>Lindo</a:t>
            </a:r>
            <a:endParaRPr lang="es-PE" sz="3456" noProof="1">
              <a:latin typeface="Verdana"/>
              <a:cs typeface="Verdana"/>
            </a:endParaRPr>
          </a:p>
        </p:txBody>
      </p:sp>
      <p:sp>
        <p:nvSpPr>
          <p:cNvPr id="15" name="object 15"/>
          <p:cNvSpPr/>
          <p:nvPr/>
        </p:nvSpPr>
        <p:spPr>
          <a:xfrm>
            <a:off x="499864" y="9325681"/>
            <a:ext cx="16411369" cy="0"/>
          </a:xfrm>
          <a:custGeom>
            <a:avLst/>
            <a:gdLst/>
            <a:ahLst/>
            <a:cxnLst/>
            <a:rect l="l" t="t" r="r" b="b"/>
            <a:pathLst>
              <a:path w="11398250">
                <a:moveTo>
                  <a:pt x="0" y="0"/>
                </a:moveTo>
                <a:lnTo>
                  <a:pt x="11397742" y="0"/>
                </a:lnTo>
              </a:path>
            </a:pathLst>
          </a:custGeom>
          <a:ln w="57912">
            <a:solidFill>
              <a:srgbClr val="FF5000"/>
            </a:solidFill>
          </a:ln>
        </p:spPr>
        <p:txBody>
          <a:bodyPr wrap="square" lIns="0" tIns="0" rIns="0" bIns="0" rtlCol="0"/>
          <a:lstStyle/>
          <a:p>
            <a:pPr defTabSz="1316553" fontAlgn="auto">
              <a:spcBef>
                <a:spcPts val="0"/>
              </a:spcBef>
              <a:spcAft>
                <a:spcPts val="0"/>
              </a:spcAft>
              <a:defRPr/>
            </a:pPr>
            <a:endParaRPr sz="2592">
              <a:solidFill>
                <a:prstClr val="black"/>
              </a:solidFill>
              <a:latin typeface="Calibri"/>
              <a:cs typeface="+mn-cs"/>
            </a:endParaRPr>
          </a:p>
        </p:txBody>
      </p:sp>
      <p:sp>
        <p:nvSpPr>
          <p:cNvPr id="16" name="CuadroTexto 15">
            <a:extLst>
              <a:ext uri="{FF2B5EF4-FFF2-40B4-BE49-F238E27FC236}">
                <a16:creationId xmlns:a16="http://schemas.microsoft.com/office/drawing/2014/main" id="{AC4AD81B-576F-0038-4862-F0376B33EC8E}"/>
              </a:ext>
            </a:extLst>
          </p:cNvPr>
          <p:cNvSpPr txBox="1"/>
          <p:nvPr/>
        </p:nvSpPr>
        <p:spPr>
          <a:xfrm>
            <a:off x="394101" y="3516125"/>
            <a:ext cx="6519636" cy="4701928"/>
          </a:xfrm>
          <a:prstGeom prst="rect">
            <a:avLst/>
          </a:prstGeom>
          <a:noFill/>
        </p:spPr>
        <p:txBody>
          <a:bodyPr wrap="square" rtlCol="0">
            <a:spAutoFit/>
          </a:bodyPr>
          <a:lstStyle/>
          <a:p>
            <a:pPr algn="just" defTabSz="1316553" fontAlgn="auto">
              <a:spcBef>
                <a:spcPts val="0"/>
              </a:spcBef>
              <a:spcAft>
                <a:spcPts val="0"/>
              </a:spcAft>
              <a:defRPr/>
            </a:pPr>
            <a:r>
              <a:rPr lang="es-PE" sz="2304" spc="-29" dirty="0">
                <a:solidFill>
                  <a:schemeClr val="tx1">
                    <a:lumMod val="85000"/>
                    <a:lumOff val="15000"/>
                  </a:schemeClr>
                </a:solidFill>
                <a:latin typeface="Verdana"/>
                <a:cs typeface="+mn-cs"/>
              </a:rPr>
              <a:t>Mina </a:t>
            </a:r>
            <a:r>
              <a:rPr lang="es-PE" sz="2304" b="1" spc="-29" dirty="0">
                <a:solidFill>
                  <a:srgbClr val="FF5000"/>
                </a:solidFill>
                <a:latin typeface="Verdana"/>
                <a:cs typeface="+mn-cs"/>
              </a:rPr>
              <a:t>Cerro Lindo</a:t>
            </a:r>
            <a:r>
              <a:rPr lang="es-PE" sz="2304" spc="-29" dirty="0">
                <a:solidFill>
                  <a:schemeClr val="tx1">
                    <a:lumMod val="85000"/>
                    <a:lumOff val="15000"/>
                  </a:schemeClr>
                </a:solidFill>
                <a:latin typeface="Verdana"/>
              </a:rPr>
              <a:t>,</a:t>
            </a:r>
            <a:r>
              <a:rPr lang="es-PE" sz="2304" spc="-29" dirty="0">
                <a:solidFill>
                  <a:srgbClr val="FF6600"/>
                </a:solidFill>
                <a:latin typeface="Verdana"/>
                <a:cs typeface="+mn-cs"/>
              </a:rPr>
              <a:t> </a:t>
            </a:r>
            <a:r>
              <a:rPr lang="es-PE" sz="2304" spc="-29" dirty="0">
                <a:solidFill>
                  <a:schemeClr val="tx1">
                    <a:lumMod val="85000"/>
                    <a:lumOff val="15000"/>
                  </a:schemeClr>
                </a:solidFill>
                <a:latin typeface="Verdana"/>
                <a:cs typeface="+mn-cs"/>
              </a:rPr>
              <a:t>en Perú:</a:t>
            </a:r>
            <a:r>
              <a:rPr lang="es-PE" sz="2304" dirty="0">
                <a:solidFill>
                  <a:schemeClr val="tx1">
                    <a:lumMod val="85000"/>
                    <a:lumOff val="15000"/>
                  </a:schemeClr>
                </a:solidFill>
                <a:latin typeface="Verdana" panose="020B0604030504040204" pitchFamily="34" charset="0"/>
                <a:ea typeface="Verdana" panose="020B0604030504040204" pitchFamily="34" charset="0"/>
                <a:cs typeface="+mn-cs"/>
              </a:rPr>
              <a:t> </a:t>
            </a:r>
            <a:r>
              <a:rPr lang="es-PE" sz="2304" dirty="0">
                <a:solidFill>
                  <a:schemeClr val="tx1">
                    <a:lumMod val="85000"/>
                    <a:lumOff val="15000"/>
                  </a:schemeClr>
                </a:solidFill>
                <a:latin typeface="Verdana"/>
                <a:cs typeface="+mn-cs"/>
              </a:rPr>
              <a:t>Agua de mar desalinizada.</a:t>
            </a:r>
          </a:p>
          <a:p>
            <a:pPr algn="just" defTabSz="1316553" fontAlgn="auto">
              <a:spcBef>
                <a:spcPts val="0"/>
              </a:spcBef>
              <a:spcAft>
                <a:spcPts val="0"/>
              </a:spcAft>
              <a:defRPr/>
            </a:pPr>
            <a:endParaRPr lang="es-PE" sz="2304" dirty="0">
              <a:solidFill>
                <a:schemeClr val="tx1">
                  <a:lumMod val="85000"/>
                  <a:lumOff val="15000"/>
                </a:schemeClr>
              </a:solidFill>
              <a:latin typeface="Verdana" panose="020B0604030504040204" pitchFamily="34" charset="0"/>
              <a:ea typeface="Verdana" panose="020B0604030504040204" pitchFamily="34" charset="0"/>
              <a:cs typeface="+mn-cs"/>
            </a:endParaRPr>
          </a:p>
          <a:p>
            <a:pPr algn="just" defTabSz="1316553" fontAlgn="auto">
              <a:spcBef>
                <a:spcPts val="0"/>
              </a:spcBef>
              <a:spcAft>
                <a:spcPts val="0"/>
              </a:spcAft>
              <a:defRPr/>
            </a:pPr>
            <a:r>
              <a:rPr lang="es-PE" sz="2304" spc="-29" dirty="0">
                <a:solidFill>
                  <a:schemeClr val="tx1">
                    <a:lumMod val="85000"/>
                    <a:lumOff val="15000"/>
                  </a:schemeClr>
                </a:solidFill>
                <a:latin typeface="Verdana"/>
                <a:cs typeface="+mn-cs"/>
              </a:rPr>
              <a:t>Hemos logrado reutilizar aproximadamente </a:t>
            </a:r>
            <a:r>
              <a:rPr lang="es-PE" sz="2304" b="1" spc="-29" dirty="0">
                <a:solidFill>
                  <a:srgbClr val="FF5000"/>
                </a:solidFill>
                <a:latin typeface="Verdana"/>
                <a:cs typeface="+mn-cs"/>
              </a:rPr>
              <a:t>92% del agua</a:t>
            </a:r>
            <a:r>
              <a:rPr lang="es-PE" sz="2304" spc="-29" dirty="0">
                <a:solidFill>
                  <a:srgbClr val="FF5000"/>
                </a:solidFill>
                <a:latin typeface="Verdana"/>
                <a:cs typeface="+mn-cs"/>
              </a:rPr>
              <a:t>.</a:t>
            </a:r>
          </a:p>
          <a:p>
            <a:pPr algn="just" defTabSz="1316553" fontAlgn="auto">
              <a:spcBef>
                <a:spcPts val="0"/>
              </a:spcBef>
              <a:spcAft>
                <a:spcPts val="0"/>
              </a:spcAft>
              <a:defRPr/>
            </a:pPr>
            <a:endParaRPr lang="es-PE" sz="2304" spc="-29" dirty="0">
              <a:solidFill>
                <a:schemeClr val="tx1">
                  <a:lumMod val="85000"/>
                  <a:lumOff val="15000"/>
                </a:schemeClr>
              </a:solidFill>
              <a:latin typeface="Verdana"/>
              <a:cs typeface="+mn-cs"/>
            </a:endParaRPr>
          </a:p>
          <a:p>
            <a:pPr algn="just" defTabSz="1316553" fontAlgn="auto">
              <a:spcBef>
                <a:spcPts val="0"/>
              </a:spcBef>
              <a:spcAft>
                <a:spcPts val="0"/>
              </a:spcAft>
              <a:defRPr/>
            </a:pPr>
            <a:r>
              <a:rPr lang="es-PE" sz="2304" spc="-29" dirty="0">
                <a:solidFill>
                  <a:schemeClr val="tx1">
                    <a:lumMod val="85000"/>
                    <a:lumOff val="15000"/>
                  </a:schemeClr>
                </a:solidFill>
                <a:latin typeface="Verdana"/>
                <a:cs typeface="+mn-cs"/>
              </a:rPr>
              <a:t>El otro </a:t>
            </a:r>
            <a:r>
              <a:rPr lang="es-PE" sz="2304" b="1" spc="-29" dirty="0">
                <a:solidFill>
                  <a:srgbClr val="FF5000"/>
                </a:solidFill>
                <a:latin typeface="Verdana"/>
                <a:cs typeface="+mn-cs"/>
              </a:rPr>
              <a:t>8% </a:t>
            </a:r>
            <a:r>
              <a:rPr lang="es-PE" sz="2304" spc="-29" dirty="0">
                <a:solidFill>
                  <a:schemeClr val="tx1">
                    <a:lumMod val="85000"/>
                    <a:lumOff val="15000"/>
                  </a:schemeClr>
                </a:solidFill>
                <a:latin typeface="Verdana"/>
                <a:cs typeface="+mn-cs"/>
              </a:rPr>
              <a:t>corresponde a lo que se evapora durante el proceso y/ se incorpora al producto.</a:t>
            </a:r>
          </a:p>
          <a:p>
            <a:pPr algn="just" defTabSz="1316553" fontAlgn="auto">
              <a:spcBef>
                <a:spcPts val="0"/>
              </a:spcBef>
              <a:spcAft>
                <a:spcPts val="0"/>
              </a:spcAft>
              <a:defRPr/>
            </a:pPr>
            <a:endParaRPr lang="es-PE" sz="2304" spc="-29" dirty="0">
              <a:solidFill>
                <a:schemeClr val="tx1">
                  <a:lumMod val="85000"/>
                  <a:lumOff val="15000"/>
                </a:schemeClr>
              </a:solidFill>
              <a:latin typeface="Verdana"/>
              <a:cs typeface="+mn-cs"/>
            </a:endParaRPr>
          </a:p>
          <a:p>
            <a:pPr algn="just" defTabSz="1316553" fontAlgn="auto">
              <a:spcBef>
                <a:spcPts val="0"/>
              </a:spcBef>
              <a:spcAft>
                <a:spcPts val="0"/>
              </a:spcAft>
              <a:defRPr/>
            </a:pPr>
            <a:r>
              <a:rPr lang="es-PE" sz="2304" spc="-29" dirty="0">
                <a:solidFill>
                  <a:schemeClr val="tx1">
                    <a:lumMod val="85000"/>
                    <a:lumOff val="15000"/>
                  </a:schemeClr>
                </a:solidFill>
                <a:latin typeface="Verdana"/>
                <a:cs typeface="+mn-cs"/>
              </a:rPr>
              <a:t>La reposición se realiza con agua de mar, captada por nuestra desaladora, el primero de su tipo en el Perú.</a:t>
            </a:r>
          </a:p>
        </p:txBody>
      </p:sp>
    </p:spTree>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Vista aérea de uma montanha&#10;&#10;Descrição gerada automaticamente">
            <a:extLst>
              <a:ext uri="{FF2B5EF4-FFF2-40B4-BE49-F238E27FC236}">
                <a16:creationId xmlns:a16="http://schemas.microsoft.com/office/drawing/2014/main" id="{4FA003A5-53EE-72F4-E006-5CC77233E0FA}"/>
              </a:ext>
            </a:extLst>
          </p:cNvPr>
          <p:cNvPicPr>
            <a:picLocks noChangeAspect="1"/>
          </p:cNvPicPr>
          <p:nvPr/>
        </p:nvPicPr>
        <p:blipFill>
          <a:blip r:embed="rId2"/>
          <a:stretch>
            <a:fillRect/>
          </a:stretch>
        </p:blipFill>
        <p:spPr>
          <a:xfrm>
            <a:off x="1768" y="3408"/>
            <a:ext cx="17554219" cy="9183505"/>
          </a:xfrm>
          <a:prstGeom prst="rect">
            <a:avLst/>
          </a:prstGeom>
        </p:spPr>
      </p:pic>
      <p:pic>
        <p:nvPicPr>
          <p:cNvPr id="25" name="object 4">
            <a:extLst>
              <a:ext uri="{FF2B5EF4-FFF2-40B4-BE49-F238E27FC236}">
                <a16:creationId xmlns:a16="http://schemas.microsoft.com/office/drawing/2014/main" id="{6610A79E-29AE-B3FC-045B-9060858BCD75}"/>
              </a:ext>
            </a:extLst>
          </p:cNvPr>
          <p:cNvPicPr/>
          <p:nvPr/>
        </p:nvPicPr>
        <p:blipFill>
          <a:blip r:embed="rId3" cstate="print"/>
          <a:stretch>
            <a:fillRect/>
          </a:stretch>
        </p:blipFill>
        <p:spPr>
          <a:xfrm>
            <a:off x="1765" y="0"/>
            <a:ext cx="17554221" cy="9215967"/>
          </a:xfrm>
          <a:prstGeom prst="rect">
            <a:avLst/>
          </a:prstGeom>
        </p:spPr>
      </p:pic>
      <p:sp>
        <p:nvSpPr>
          <p:cNvPr id="15" name="object 15"/>
          <p:cNvSpPr/>
          <p:nvPr/>
        </p:nvSpPr>
        <p:spPr>
          <a:xfrm>
            <a:off x="624202" y="9215967"/>
            <a:ext cx="16411369" cy="0"/>
          </a:xfrm>
          <a:custGeom>
            <a:avLst/>
            <a:gdLst/>
            <a:ahLst/>
            <a:cxnLst/>
            <a:rect l="l" t="t" r="r" b="b"/>
            <a:pathLst>
              <a:path w="11398250">
                <a:moveTo>
                  <a:pt x="0" y="0"/>
                </a:moveTo>
                <a:lnTo>
                  <a:pt x="11397742" y="0"/>
                </a:lnTo>
              </a:path>
            </a:pathLst>
          </a:custGeom>
          <a:ln w="57912">
            <a:solidFill>
              <a:srgbClr val="FF5000"/>
            </a:solidFill>
          </a:ln>
        </p:spPr>
        <p:txBody>
          <a:bodyPr wrap="square" lIns="0" tIns="0" rIns="0" bIns="0" rtlCol="0"/>
          <a:lstStyle/>
          <a:p>
            <a:pPr defTabSz="1316553" fontAlgn="auto">
              <a:spcBef>
                <a:spcPts val="0"/>
              </a:spcBef>
              <a:spcAft>
                <a:spcPts val="0"/>
              </a:spcAft>
              <a:defRPr/>
            </a:pPr>
            <a:endParaRPr sz="2592">
              <a:solidFill>
                <a:prstClr val="black"/>
              </a:solidFill>
              <a:latin typeface="Calibri"/>
              <a:cs typeface="+mn-cs"/>
            </a:endParaRPr>
          </a:p>
        </p:txBody>
      </p:sp>
      <p:sp>
        <p:nvSpPr>
          <p:cNvPr id="3" name="CuadroTexto 2">
            <a:extLst>
              <a:ext uri="{FF2B5EF4-FFF2-40B4-BE49-F238E27FC236}">
                <a16:creationId xmlns:a16="http://schemas.microsoft.com/office/drawing/2014/main" id="{C81C4AAF-AEA2-8C8F-9B59-3C975E45143E}"/>
              </a:ext>
            </a:extLst>
          </p:cNvPr>
          <p:cNvSpPr txBox="1"/>
          <p:nvPr/>
        </p:nvSpPr>
        <p:spPr>
          <a:xfrm>
            <a:off x="829968" y="1292744"/>
            <a:ext cx="6222743" cy="1993836"/>
          </a:xfrm>
          <a:prstGeom prst="rect">
            <a:avLst/>
          </a:prstGeom>
        </p:spPr>
        <p:txBody>
          <a:bodyPr wrap="square" lIns="131657" tIns="65828" rIns="131657" bIns="65828" rtlCol="0" anchor="t">
            <a:spAutoFit/>
          </a:bodyPr>
          <a:lstStyle/>
          <a:p>
            <a:pPr algn="just" defTabSz="1316553" fontAlgn="auto">
              <a:spcBef>
                <a:spcPts val="0"/>
              </a:spcBef>
              <a:spcAft>
                <a:spcPts val="0"/>
              </a:spcAft>
              <a:defRPr/>
            </a:pPr>
            <a:r>
              <a:rPr lang="es-PE" sz="4031" b="1" spc="-7" dirty="0">
                <a:solidFill>
                  <a:srgbClr val="3A3A3A"/>
                </a:solidFill>
                <a:latin typeface="Verdana"/>
                <a:cs typeface="+mn-cs"/>
              </a:rPr>
              <a:t>Mantenemos nuestro compromiso de </a:t>
            </a:r>
            <a:r>
              <a:rPr lang="es-PE" sz="4031" b="1" spc="-7" dirty="0">
                <a:solidFill>
                  <a:srgbClr val="FF5000"/>
                </a:solidFill>
                <a:latin typeface="Verdana"/>
                <a:cs typeface="+mn-cs"/>
              </a:rPr>
              <a:t>vertimiento cero</a:t>
            </a:r>
            <a:endParaRPr lang="es-PE" sz="4031" b="1" spc="-7">
              <a:solidFill>
                <a:srgbClr val="FF5000"/>
              </a:solidFill>
              <a:latin typeface="Verdana"/>
              <a:ea typeface="Verdana"/>
              <a:cs typeface="+mn-cs"/>
            </a:endParaRPr>
          </a:p>
        </p:txBody>
      </p:sp>
      <p:sp>
        <p:nvSpPr>
          <p:cNvPr id="17" name="CuadroTexto 16">
            <a:extLst>
              <a:ext uri="{FF2B5EF4-FFF2-40B4-BE49-F238E27FC236}">
                <a16:creationId xmlns:a16="http://schemas.microsoft.com/office/drawing/2014/main" id="{F4DBD342-E268-FA6E-0552-0E9920C2F817}"/>
              </a:ext>
            </a:extLst>
          </p:cNvPr>
          <p:cNvSpPr txBox="1"/>
          <p:nvPr/>
        </p:nvSpPr>
        <p:spPr>
          <a:xfrm>
            <a:off x="829967" y="3845040"/>
            <a:ext cx="6488330" cy="3283591"/>
          </a:xfrm>
          <a:prstGeom prst="rect">
            <a:avLst/>
          </a:prstGeom>
          <a:noFill/>
        </p:spPr>
        <p:txBody>
          <a:bodyPr wrap="square" rtlCol="0">
            <a:spAutoFit/>
          </a:bodyPr>
          <a:lstStyle/>
          <a:p>
            <a:pPr algn="just" defTabSz="1316553" fontAlgn="auto">
              <a:spcBef>
                <a:spcPts val="0"/>
              </a:spcBef>
              <a:spcAft>
                <a:spcPts val="0"/>
              </a:spcAft>
              <a:defRPr/>
            </a:pPr>
            <a:r>
              <a:rPr lang="es-PE" sz="2304" spc="-29" dirty="0">
                <a:solidFill>
                  <a:srgbClr val="3A3A3A"/>
                </a:solidFill>
                <a:latin typeface="Verdana"/>
                <a:cs typeface="+mn-cs"/>
              </a:rPr>
              <a:t>Gracias a la recirculación </a:t>
            </a:r>
            <a:r>
              <a:rPr lang="es-PE" sz="2304" dirty="0">
                <a:solidFill>
                  <a:prstClr val="black"/>
                </a:solidFill>
                <a:latin typeface="Verdana" panose="020B0604030504040204" pitchFamily="34" charset="0"/>
                <a:ea typeface="Verdana" panose="020B0604030504040204" pitchFamily="34" charset="0"/>
                <a:cs typeface="+mn-cs"/>
              </a:rPr>
              <a:t>del </a:t>
            </a:r>
            <a:r>
              <a:rPr lang="es-PE" sz="2304" spc="-29" dirty="0">
                <a:solidFill>
                  <a:srgbClr val="3A3A3A"/>
                </a:solidFill>
                <a:latin typeface="Verdana"/>
                <a:cs typeface="+mn-cs"/>
              </a:rPr>
              <a:t>agua, en nuestras operaciones cumplimos con nuestro vertimiento cero.</a:t>
            </a:r>
          </a:p>
          <a:p>
            <a:pPr algn="just" defTabSz="1316553" fontAlgn="auto">
              <a:spcBef>
                <a:spcPts val="0"/>
              </a:spcBef>
              <a:spcAft>
                <a:spcPts val="0"/>
              </a:spcAft>
              <a:defRPr/>
            </a:pPr>
            <a:endParaRPr lang="es-PE" sz="2304" spc="-29" dirty="0">
              <a:solidFill>
                <a:srgbClr val="3A3A3A"/>
              </a:solidFill>
              <a:latin typeface="Verdana"/>
              <a:cs typeface="+mn-cs"/>
            </a:endParaRPr>
          </a:p>
          <a:p>
            <a:pPr algn="just" defTabSz="1316553" fontAlgn="auto">
              <a:spcBef>
                <a:spcPts val="0"/>
              </a:spcBef>
              <a:spcAft>
                <a:spcPts val="0"/>
              </a:spcAft>
              <a:defRPr/>
            </a:pPr>
            <a:r>
              <a:rPr lang="es-PE" sz="2304" spc="-29" dirty="0">
                <a:solidFill>
                  <a:srgbClr val="3A3A3A"/>
                </a:solidFill>
                <a:latin typeface="Verdana"/>
                <a:cs typeface="+mn-cs"/>
              </a:rPr>
              <a:t>Todos los efluentes son usados en el proceso y no se genera ningún vertimiento hacia las quebradas, en cumplimiento con lo aprobado en nuestros estudios de impacto ambiental.</a:t>
            </a:r>
          </a:p>
        </p:txBody>
      </p:sp>
      <p:sp>
        <p:nvSpPr>
          <p:cNvPr id="6" name="object 5">
            <a:extLst>
              <a:ext uri="{FF2B5EF4-FFF2-40B4-BE49-F238E27FC236}">
                <a16:creationId xmlns:a16="http://schemas.microsoft.com/office/drawing/2014/main" id="{F797C4CE-A331-66C3-5F9B-A6577FC78098}"/>
              </a:ext>
            </a:extLst>
          </p:cNvPr>
          <p:cNvSpPr txBox="1"/>
          <p:nvPr/>
        </p:nvSpPr>
        <p:spPr>
          <a:xfrm>
            <a:off x="776602" y="558320"/>
            <a:ext cx="6488331" cy="328678"/>
          </a:xfrm>
          <a:prstGeom prst="rect">
            <a:avLst/>
          </a:prstGeom>
        </p:spPr>
        <p:txBody>
          <a:bodyPr vert="horz" wrap="square" lIns="0" tIns="18286" rIns="0" bIns="0" rtlCol="0" anchor="t">
            <a:spAutoFit/>
          </a:bodyPr>
          <a:lstStyle/>
          <a:p>
            <a:pPr marL="18285" defTabSz="1316553" fontAlgn="auto">
              <a:spcBef>
                <a:spcPts val="144"/>
              </a:spcBef>
              <a:spcAft>
                <a:spcPts val="0"/>
              </a:spcAft>
              <a:defRPr/>
            </a:pPr>
            <a:r>
              <a:rPr lang="es-PE" sz="2016" b="1" spc="-22" noProof="1">
                <a:solidFill>
                  <a:schemeClr val="tx1">
                    <a:lumMod val="85000"/>
                    <a:lumOff val="15000"/>
                  </a:schemeClr>
                </a:solidFill>
                <a:latin typeface="Verdana"/>
                <a:cs typeface="Verdana"/>
              </a:rPr>
              <a:t>Algunos ejemplos en</a:t>
            </a:r>
            <a:r>
              <a:rPr lang="es-PE" sz="2016" b="1" spc="-36" noProof="1">
                <a:solidFill>
                  <a:schemeClr val="tx1">
                    <a:lumMod val="85000"/>
                    <a:lumOff val="15000"/>
                  </a:schemeClr>
                </a:solidFill>
                <a:latin typeface="Verdana"/>
                <a:cs typeface="Verdana"/>
              </a:rPr>
              <a:t> </a:t>
            </a:r>
            <a:r>
              <a:rPr lang="es-PE" sz="2016" b="1" noProof="1">
                <a:solidFill>
                  <a:schemeClr val="tx1">
                    <a:lumMod val="85000"/>
                    <a:lumOff val="15000"/>
                  </a:schemeClr>
                </a:solidFill>
                <a:latin typeface="Verdana"/>
                <a:cs typeface="Verdana"/>
              </a:rPr>
              <a:t>Gestión</a:t>
            </a:r>
            <a:r>
              <a:rPr lang="es-PE" sz="2016" b="1" spc="-72" noProof="1">
                <a:solidFill>
                  <a:schemeClr val="tx1">
                    <a:lumMod val="85000"/>
                    <a:lumOff val="15000"/>
                  </a:schemeClr>
                </a:solidFill>
                <a:latin typeface="Verdana"/>
                <a:cs typeface="Verdana"/>
              </a:rPr>
              <a:t> </a:t>
            </a:r>
            <a:r>
              <a:rPr lang="es-PE" sz="2016" b="1" noProof="1">
                <a:solidFill>
                  <a:schemeClr val="tx1">
                    <a:lumMod val="85000"/>
                    <a:lumOff val="15000"/>
                  </a:schemeClr>
                </a:solidFill>
                <a:latin typeface="Verdana"/>
                <a:cs typeface="Verdana"/>
              </a:rPr>
              <a:t>del</a:t>
            </a:r>
            <a:r>
              <a:rPr lang="es-PE" sz="2016" b="1" spc="-43" noProof="1">
                <a:solidFill>
                  <a:schemeClr val="tx1">
                    <a:lumMod val="85000"/>
                    <a:lumOff val="15000"/>
                  </a:schemeClr>
                </a:solidFill>
                <a:latin typeface="Verdana"/>
                <a:cs typeface="Verdana"/>
              </a:rPr>
              <a:t> </a:t>
            </a:r>
            <a:r>
              <a:rPr lang="es-PE" sz="2016" b="1" noProof="1">
                <a:solidFill>
                  <a:schemeClr val="tx1">
                    <a:lumMod val="85000"/>
                    <a:lumOff val="15000"/>
                  </a:schemeClr>
                </a:solidFill>
                <a:latin typeface="Verdana"/>
                <a:cs typeface="Verdana"/>
              </a:rPr>
              <a:t>Agua</a:t>
            </a:r>
          </a:p>
        </p:txBody>
      </p:sp>
    </p:spTree>
    <p:extLst>
      <p:ext uri="{BB962C8B-B14F-4D97-AF65-F5344CB8AC3E}">
        <p14:creationId xmlns:p14="http://schemas.microsoft.com/office/powerpoint/2010/main" val="3924575930"/>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764" y="-1"/>
            <a:ext cx="17554222" cy="9211211"/>
            <a:chOff x="0" y="0"/>
            <a:chExt cx="12192000" cy="6239510"/>
          </a:xfrm>
        </p:grpSpPr>
        <p:pic>
          <p:nvPicPr>
            <p:cNvPr id="3" name="object 3"/>
            <p:cNvPicPr/>
            <p:nvPr/>
          </p:nvPicPr>
          <p:blipFill>
            <a:blip r:embed="rId2" cstate="print"/>
            <a:stretch>
              <a:fillRect/>
            </a:stretch>
          </p:blipFill>
          <p:spPr>
            <a:xfrm>
              <a:off x="0" y="0"/>
              <a:ext cx="10276331" cy="6207252"/>
            </a:xfrm>
            <a:prstGeom prst="rect">
              <a:avLst/>
            </a:prstGeom>
          </p:spPr>
        </p:pic>
        <p:pic>
          <p:nvPicPr>
            <p:cNvPr id="4" name="object 4"/>
            <p:cNvPicPr/>
            <p:nvPr/>
          </p:nvPicPr>
          <p:blipFill>
            <a:blip r:embed="rId3" cstate="print"/>
            <a:stretch>
              <a:fillRect/>
            </a:stretch>
          </p:blipFill>
          <p:spPr>
            <a:xfrm>
              <a:off x="1524" y="0"/>
              <a:ext cx="12190475" cy="6239256"/>
            </a:xfrm>
            <a:prstGeom prst="rect">
              <a:avLst/>
            </a:prstGeom>
          </p:spPr>
        </p:pic>
      </p:grpSp>
      <p:sp>
        <p:nvSpPr>
          <p:cNvPr id="14" name="object 14"/>
          <p:cNvSpPr/>
          <p:nvPr/>
        </p:nvSpPr>
        <p:spPr>
          <a:xfrm>
            <a:off x="499864" y="9325681"/>
            <a:ext cx="16411369" cy="0"/>
          </a:xfrm>
          <a:custGeom>
            <a:avLst/>
            <a:gdLst/>
            <a:ahLst/>
            <a:cxnLst/>
            <a:rect l="l" t="t" r="r" b="b"/>
            <a:pathLst>
              <a:path w="11398250">
                <a:moveTo>
                  <a:pt x="0" y="0"/>
                </a:moveTo>
                <a:lnTo>
                  <a:pt x="11397742" y="0"/>
                </a:lnTo>
              </a:path>
            </a:pathLst>
          </a:custGeom>
          <a:ln w="57912">
            <a:solidFill>
              <a:srgbClr val="FF5000"/>
            </a:solidFill>
          </a:ln>
        </p:spPr>
        <p:txBody>
          <a:bodyPr wrap="square" lIns="0" tIns="0" rIns="0" bIns="0" rtlCol="0"/>
          <a:lstStyle/>
          <a:p>
            <a:pPr defTabSz="1316553" fontAlgn="auto">
              <a:spcBef>
                <a:spcPts val="0"/>
              </a:spcBef>
              <a:spcAft>
                <a:spcPts val="0"/>
              </a:spcAft>
              <a:defRPr/>
            </a:pPr>
            <a:endParaRPr sz="2592">
              <a:solidFill>
                <a:prstClr val="black"/>
              </a:solidFill>
              <a:latin typeface="Calibri"/>
              <a:cs typeface="+mn-cs"/>
            </a:endParaRPr>
          </a:p>
        </p:txBody>
      </p:sp>
      <p:sp>
        <p:nvSpPr>
          <p:cNvPr id="15" name="CuadroTexto 14">
            <a:extLst>
              <a:ext uri="{FF2B5EF4-FFF2-40B4-BE49-F238E27FC236}">
                <a16:creationId xmlns:a16="http://schemas.microsoft.com/office/drawing/2014/main" id="{6236441B-8FD0-DE13-ABCE-55D7FBF07890}"/>
              </a:ext>
            </a:extLst>
          </p:cNvPr>
          <p:cNvSpPr txBox="1"/>
          <p:nvPr/>
        </p:nvSpPr>
        <p:spPr>
          <a:xfrm>
            <a:off x="8778876" y="827806"/>
            <a:ext cx="8132358" cy="2792003"/>
          </a:xfrm>
          <a:prstGeom prst="rect">
            <a:avLst/>
          </a:prstGeom>
        </p:spPr>
        <p:txBody>
          <a:bodyPr wrap="square" lIns="131657" tIns="65828" rIns="131657" bIns="65828" rtlCol="0" anchor="t">
            <a:spAutoFit/>
          </a:bodyPr>
          <a:lstStyle/>
          <a:p>
            <a:pPr algn="just" defTabSz="1316553" fontAlgn="auto">
              <a:spcBef>
                <a:spcPts val="0"/>
              </a:spcBef>
              <a:spcAft>
                <a:spcPts val="0"/>
              </a:spcAft>
              <a:defRPr/>
            </a:pPr>
            <a:r>
              <a:rPr lang="es-PE" sz="3456" b="1" spc="-7" dirty="0">
                <a:solidFill>
                  <a:srgbClr val="3A3A3A"/>
                </a:solidFill>
                <a:latin typeface="Verdana"/>
                <a:cs typeface="+mn-cs"/>
              </a:rPr>
              <a:t>Mantenemos como objetivo que todos los </a:t>
            </a:r>
            <a:r>
              <a:rPr lang="es-PE" sz="3456" b="1" spc="-7" dirty="0">
                <a:solidFill>
                  <a:srgbClr val="FF5000"/>
                </a:solidFill>
                <a:latin typeface="Verdana"/>
                <a:cs typeface="+mn-cs"/>
              </a:rPr>
              <a:t>residuos vayan a los depósitos de relaves filtrados o se usen como relleno </a:t>
            </a:r>
            <a:r>
              <a:rPr lang="es-PE" sz="3456" b="1" spc="-7" dirty="0">
                <a:solidFill>
                  <a:srgbClr val="3A3A3A"/>
                </a:solidFill>
                <a:latin typeface="Verdana"/>
                <a:cs typeface="+mn-cs"/>
              </a:rPr>
              <a:t>en minas subterráneas</a:t>
            </a:r>
            <a:endParaRPr lang="es-PE" sz="3456" b="1" spc="-7" dirty="0">
              <a:solidFill>
                <a:srgbClr val="FF5000"/>
              </a:solidFill>
              <a:latin typeface="Verdana"/>
              <a:cs typeface="+mn-cs"/>
            </a:endParaRPr>
          </a:p>
        </p:txBody>
      </p:sp>
      <p:sp>
        <p:nvSpPr>
          <p:cNvPr id="16" name="CuadroTexto 15">
            <a:extLst>
              <a:ext uri="{FF2B5EF4-FFF2-40B4-BE49-F238E27FC236}">
                <a16:creationId xmlns:a16="http://schemas.microsoft.com/office/drawing/2014/main" id="{69DFF4DE-525E-4115-4AF2-AF6E8F01BA88}"/>
              </a:ext>
            </a:extLst>
          </p:cNvPr>
          <p:cNvSpPr txBox="1"/>
          <p:nvPr/>
        </p:nvSpPr>
        <p:spPr>
          <a:xfrm>
            <a:off x="10973154" y="4814689"/>
            <a:ext cx="5584804" cy="2929007"/>
          </a:xfrm>
          <a:prstGeom prst="rect">
            <a:avLst/>
          </a:prstGeom>
          <a:noFill/>
        </p:spPr>
        <p:txBody>
          <a:bodyPr wrap="square" rtlCol="0">
            <a:spAutoFit/>
          </a:bodyPr>
          <a:lstStyle/>
          <a:p>
            <a:pPr algn="just" defTabSz="1316553" fontAlgn="auto">
              <a:spcBef>
                <a:spcPts val="0"/>
              </a:spcBef>
              <a:spcAft>
                <a:spcPts val="0"/>
              </a:spcAft>
              <a:defRPr/>
            </a:pPr>
            <a:r>
              <a:rPr lang="es-PE" sz="2304" spc="-29" dirty="0">
                <a:solidFill>
                  <a:srgbClr val="3A3A3A"/>
                </a:solidFill>
                <a:latin typeface="Verdana"/>
                <a:cs typeface="+mn-cs"/>
              </a:rPr>
              <a:t>El </a:t>
            </a:r>
            <a:r>
              <a:rPr lang="es-PE" sz="2304" dirty="0">
                <a:solidFill>
                  <a:srgbClr val="FF5000"/>
                </a:solidFill>
                <a:latin typeface="Verdana"/>
                <a:cs typeface="+mn-cs"/>
              </a:rPr>
              <a:t>49%</a:t>
            </a:r>
            <a:r>
              <a:rPr lang="es-PE" sz="2304" spc="-29" dirty="0">
                <a:solidFill>
                  <a:srgbClr val="3A3A3A"/>
                </a:solidFill>
                <a:latin typeface="Verdana"/>
                <a:cs typeface="+mn-cs"/>
              </a:rPr>
              <a:t> de nuestro relave fue a los </a:t>
            </a:r>
            <a:r>
              <a:rPr lang="es-PE" sz="2304" spc="-22" dirty="0">
                <a:solidFill>
                  <a:srgbClr val="FF5000"/>
                </a:solidFill>
                <a:latin typeface="Verdana"/>
                <a:cs typeface="+mn-cs"/>
              </a:rPr>
              <a:t>depósitos de relaves</a:t>
            </a:r>
            <a:r>
              <a:rPr lang="es-PE" sz="2304" spc="-29" dirty="0">
                <a:solidFill>
                  <a:srgbClr val="3A3A3A"/>
                </a:solidFill>
                <a:latin typeface="Verdana"/>
                <a:cs typeface="+mn-cs"/>
              </a:rPr>
              <a:t>, en un método ya utilizado en Cerro Lindo.</a:t>
            </a:r>
          </a:p>
          <a:p>
            <a:pPr algn="just" defTabSz="1316553" fontAlgn="auto">
              <a:spcBef>
                <a:spcPts val="0"/>
              </a:spcBef>
              <a:spcAft>
                <a:spcPts val="0"/>
              </a:spcAft>
              <a:defRPr/>
            </a:pPr>
            <a:endParaRPr lang="es-PE" sz="2304" spc="-29" dirty="0">
              <a:solidFill>
                <a:srgbClr val="3A3A3A"/>
              </a:solidFill>
              <a:latin typeface="Verdana"/>
              <a:cs typeface="+mn-cs"/>
            </a:endParaRPr>
          </a:p>
          <a:p>
            <a:pPr algn="just" defTabSz="1316553" fontAlgn="auto">
              <a:spcBef>
                <a:spcPts val="0"/>
              </a:spcBef>
              <a:spcAft>
                <a:spcPts val="0"/>
              </a:spcAft>
              <a:defRPr/>
            </a:pPr>
            <a:r>
              <a:rPr lang="es-PE" sz="2304" spc="-29" dirty="0">
                <a:solidFill>
                  <a:srgbClr val="3A3A3A"/>
                </a:solidFill>
                <a:latin typeface="Verdana"/>
                <a:cs typeface="+mn-cs"/>
              </a:rPr>
              <a:t>El otro </a:t>
            </a:r>
            <a:r>
              <a:rPr lang="es-PE" sz="2304" dirty="0">
                <a:solidFill>
                  <a:srgbClr val="FF5000"/>
                </a:solidFill>
                <a:latin typeface="Verdana"/>
                <a:cs typeface="+mn-cs"/>
              </a:rPr>
              <a:t>51%</a:t>
            </a:r>
            <a:r>
              <a:rPr lang="es-PE" sz="2304" spc="-29" dirty="0">
                <a:solidFill>
                  <a:srgbClr val="3A3A3A"/>
                </a:solidFill>
                <a:latin typeface="Verdana"/>
                <a:cs typeface="+mn-cs"/>
              </a:rPr>
              <a:t> fue a las minas subterráneas para ser usado en el sostenimiento de las labores (como </a:t>
            </a:r>
            <a:r>
              <a:rPr lang="es-PE" sz="2304" dirty="0">
                <a:solidFill>
                  <a:srgbClr val="FF5000"/>
                </a:solidFill>
                <a:latin typeface="Verdana"/>
                <a:cs typeface="+mn-cs"/>
              </a:rPr>
              <a:t>relleno en pasta</a:t>
            </a:r>
            <a:r>
              <a:rPr lang="es-PE" sz="2304" spc="-29" dirty="0">
                <a:solidFill>
                  <a:srgbClr val="3A3A3A"/>
                </a:solidFill>
                <a:latin typeface="Verdana"/>
                <a:cs typeface="+mn-cs"/>
              </a:rPr>
              <a:t>).</a:t>
            </a:r>
          </a:p>
        </p:txBody>
      </p:sp>
      <p:sp>
        <p:nvSpPr>
          <p:cNvPr id="5" name="object 5">
            <a:extLst>
              <a:ext uri="{FF2B5EF4-FFF2-40B4-BE49-F238E27FC236}">
                <a16:creationId xmlns:a16="http://schemas.microsoft.com/office/drawing/2014/main" id="{E8E4B4A2-0F95-9A6B-1DF9-8ABD91D91D23}"/>
              </a:ext>
            </a:extLst>
          </p:cNvPr>
          <p:cNvSpPr txBox="1"/>
          <p:nvPr/>
        </p:nvSpPr>
        <p:spPr>
          <a:xfrm>
            <a:off x="10123070" y="405920"/>
            <a:ext cx="6226948" cy="328678"/>
          </a:xfrm>
          <a:prstGeom prst="rect">
            <a:avLst/>
          </a:prstGeom>
        </p:spPr>
        <p:txBody>
          <a:bodyPr vert="horz" wrap="square" lIns="0" tIns="18286" rIns="0" bIns="0" rtlCol="0" anchor="t">
            <a:spAutoFit/>
          </a:bodyPr>
          <a:lstStyle/>
          <a:p>
            <a:pPr marL="18285" defTabSz="1316553" fontAlgn="auto">
              <a:spcBef>
                <a:spcPts val="144"/>
              </a:spcBef>
              <a:spcAft>
                <a:spcPts val="0"/>
              </a:spcAft>
              <a:defRPr/>
            </a:pPr>
            <a:r>
              <a:rPr lang="es-PE" sz="2016" b="1" spc="-22" noProof="1">
                <a:solidFill>
                  <a:schemeClr val="tx1">
                    <a:lumMod val="85000"/>
                    <a:lumOff val="15000"/>
                  </a:schemeClr>
                </a:solidFill>
                <a:latin typeface="Verdana"/>
                <a:cs typeface="Verdana"/>
              </a:rPr>
              <a:t>Algunos ejemplos en</a:t>
            </a:r>
            <a:r>
              <a:rPr lang="es-PE" sz="2016" b="1" spc="-36" noProof="1">
                <a:solidFill>
                  <a:schemeClr val="tx1">
                    <a:lumMod val="85000"/>
                    <a:lumOff val="15000"/>
                  </a:schemeClr>
                </a:solidFill>
                <a:latin typeface="Verdana"/>
                <a:cs typeface="Verdana"/>
              </a:rPr>
              <a:t> </a:t>
            </a:r>
            <a:r>
              <a:rPr lang="es-PE" sz="2016" b="1" noProof="1">
                <a:solidFill>
                  <a:schemeClr val="tx1">
                    <a:lumMod val="85000"/>
                    <a:lumOff val="15000"/>
                  </a:schemeClr>
                </a:solidFill>
                <a:latin typeface="Verdana"/>
                <a:cs typeface="Verdana"/>
              </a:rPr>
              <a:t>Gestión</a:t>
            </a:r>
            <a:r>
              <a:rPr lang="es-PE" sz="2016" b="1" spc="-72" noProof="1">
                <a:solidFill>
                  <a:schemeClr val="tx1">
                    <a:lumMod val="85000"/>
                    <a:lumOff val="15000"/>
                  </a:schemeClr>
                </a:solidFill>
                <a:latin typeface="Verdana"/>
                <a:cs typeface="Verdana"/>
              </a:rPr>
              <a:t> </a:t>
            </a:r>
            <a:r>
              <a:rPr lang="es-PE" sz="2016" b="1" noProof="1">
                <a:solidFill>
                  <a:schemeClr val="tx1">
                    <a:lumMod val="85000"/>
                    <a:lumOff val="15000"/>
                  </a:schemeClr>
                </a:solidFill>
                <a:latin typeface="Verdana"/>
                <a:cs typeface="Verdana"/>
              </a:rPr>
              <a:t>de Residuos</a:t>
            </a:r>
          </a:p>
        </p:txBody>
      </p:sp>
    </p:spTree>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NEXA">
      <a:dk1>
        <a:srgbClr val="000000"/>
      </a:dk1>
      <a:lt1>
        <a:srgbClr val="FFFFFF"/>
      </a:lt1>
      <a:dk2>
        <a:srgbClr val="3B3B3B"/>
      </a:dk2>
      <a:lt2>
        <a:srgbClr val="DADADA"/>
      </a:lt2>
      <a:accent1>
        <a:srgbClr val="FF5000"/>
      </a:accent1>
      <a:accent2>
        <a:srgbClr val="D73B00"/>
      </a:accent2>
      <a:accent3>
        <a:srgbClr val="DADADA"/>
      </a:accent3>
      <a:accent4>
        <a:srgbClr val="B8B8B8"/>
      </a:accent4>
      <a:accent5>
        <a:srgbClr val="3B3B3B"/>
      </a:accent5>
      <a:accent6>
        <a:srgbClr val="1D1D1D"/>
      </a:accent6>
      <a:hlink>
        <a:srgbClr val="FF5000"/>
      </a:hlink>
      <a:folHlink>
        <a:srgbClr val="1D1D1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88b7e1a-b16c-4baa-88d9-0a3350cbf710">
      <Terms xmlns="http://schemas.microsoft.com/office/infopath/2007/PartnerControls"/>
    </lcf76f155ced4ddcb4097134ff3c332f>
    <TaxCatchAll xmlns="56e3b22d-9a5a-4a78-b1c5-da977796a51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2ADF84B27B233148A26FE3780C487A9E" ma:contentTypeVersion="14" ma:contentTypeDescription="Crear nuevo documento." ma:contentTypeScope="" ma:versionID="4daecf1ca4dd7a3d4719a6bb295e44e0">
  <xsd:schema xmlns:xsd="http://www.w3.org/2001/XMLSchema" xmlns:xs="http://www.w3.org/2001/XMLSchema" xmlns:p="http://schemas.microsoft.com/office/2006/metadata/properties" xmlns:ns2="f88b7e1a-b16c-4baa-88d9-0a3350cbf710" xmlns:ns3="56e3b22d-9a5a-4a78-b1c5-da977796a51d" targetNamespace="http://schemas.microsoft.com/office/2006/metadata/properties" ma:root="true" ma:fieldsID="92b2c96d358db701ecea7dbdb9257fb0" ns2:_="" ns3:_="">
    <xsd:import namespace="f88b7e1a-b16c-4baa-88d9-0a3350cbf710"/>
    <xsd:import namespace="56e3b22d-9a5a-4a78-b1c5-da977796a51d"/>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8b7e1a-b16c-4baa-88d9-0a3350cbf710"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Etiquetas de imagen" ma:readOnly="false" ma:fieldId="{5cf76f15-5ced-4ddc-b409-7134ff3c332f}" ma:taxonomyMulti="true" ma:sspId="3a177a3f-a282-46a4-a36e-c8c89ca2b679"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6e3b22d-9a5a-4a78-b1c5-da977796a51d"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03e1cd9-dce3-4fb1-bb04-f3e9c5f79505}" ma:internalName="TaxCatchAll" ma:showField="CatchAllData" ma:web="56e3b22d-9a5a-4a78-b1c5-da977796a51d">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C13775-648D-4C45-BA74-377E48C8FABE}">
  <ds:schemaRefs>
    <ds:schemaRef ds:uri="http://purl.org/dc/elements/1.1/"/>
    <ds:schemaRef ds:uri="http://purl.org/dc/terms/"/>
    <ds:schemaRef ds:uri="http://schemas.microsoft.com/office/2006/documentManagement/types"/>
    <ds:schemaRef ds:uri="http://purl.org/dc/dcmitype/"/>
    <ds:schemaRef ds:uri="ddc75e61-5436-4799-8be4-f9750bbf65eb"/>
    <ds:schemaRef ds:uri="http://schemas.microsoft.com/office/2006/metadata/properties"/>
    <ds:schemaRef ds:uri="3182619d-6c88-4bc7-b33c-34e19aafa3fd"/>
    <ds:schemaRef ds:uri="http://schemas.microsoft.com/office/infopath/2007/PartnerControls"/>
    <ds:schemaRef ds:uri="http://schemas.openxmlformats.org/package/2006/metadata/core-properties"/>
    <ds:schemaRef ds:uri="http://www.w3.org/XML/1998/namespace"/>
    <ds:schemaRef ds:uri="f88b7e1a-b16c-4baa-88d9-0a3350cbf710"/>
    <ds:schemaRef ds:uri="56e3b22d-9a5a-4a78-b1c5-da977796a51d"/>
  </ds:schemaRefs>
</ds:datastoreItem>
</file>

<file path=customXml/itemProps2.xml><?xml version="1.0" encoding="utf-8"?>
<ds:datastoreItem xmlns:ds="http://schemas.openxmlformats.org/officeDocument/2006/customXml" ds:itemID="{B91E3902-FBFD-49B8-B50D-595BC2FD6592}">
  <ds:schemaRefs>
    <ds:schemaRef ds:uri="http://schemas.microsoft.com/sharepoint/v3/contenttype/forms"/>
  </ds:schemaRefs>
</ds:datastoreItem>
</file>

<file path=customXml/itemProps3.xml><?xml version="1.0" encoding="utf-8"?>
<ds:datastoreItem xmlns:ds="http://schemas.openxmlformats.org/officeDocument/2006/customXml" ds:itemID="{93970A19-11BF-44CF-9AF4-DC9E1B7281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8b7e1a-b16c-4baa-88d9-0a3350cbf710"/>
    <ds:schemaRef ds:uri="56e3b22d-9a5a-4a78-b1c5-da977796a5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9771</TotalTime>
  <Words>3036</Words>
  <Application>Microsoft Office PowerPoint</Application>
  <PresentationFormat>Personalizado</PresentationFormat>
  <Paragraphs>342</Paragraphs>
  <Slides>32</Slides>
  <Notes>27</Notes>
  <HiddenSlides>0</HiddenSlides>
  <MMClips>0</MMClips>
  <ScaleCrop>false</ScaleCrop>
  <HeadingPairs>
    <vt:vector size="8" baseType="variant">
      <vt:variant>
        <vt:lpstr>Fuentes usadas</vt:lpstr>
      </vt:variant>
      <vt:variant>
        <vt:i4>16</vt:i4>
      </vt:variant>
      <vt:variant>
        <vt:lpstr>Tema</vt:lpstr>
      </vt:variant>
      <vt:variant>
        <vt:i4>3</vt:i4>
      </vt:variant>
      <vt:variant>
        <vt:lpstr>Servidores OLE incrustados</vt:lpstr>
      </vt:variant>
      <vt:variant>
        <vt:i4>3</vt:i4>
      </vt:variant>
      <vt:variant>
        <vt:lpstr>Títulos de diapositiva</vt:lpstr>
      </vt:variant>
      <vt:variant>
        <vt:i4>32</vt:i4>
      </vt:variant>
    </vt:vector>
  </HeadingPairs>
  <TitlesOfParts>
    <vt:vector size="54" baseType="lpstr">
      <vt:lpstr>Wingdings</vt:lpstr>
      <vt:lpstr>ClanPro-Book</vt:lpstr>
      <vt:lpstr>Open Sans</vt:lpstr>
      <vt:lpstr>Calibri Light</vt:lpstr>
      <vt:lpstr>Times New Roman</vt:lpstr>
      <vt:lpstr>Aptos</vt:lpstr>
      <vt:lpstr>Verdana</vt:lpstr>
      <vt:lpstr>Votorantim Sans Light</vt:lpstr>
      <vt:lpstr>Votorantim Sans</vt:lpstr>
      <vt:lpstr>Calibri</vt:lpstr>
      <vt:lpstr>Votorantim Sans Black</vt:lpstr>
      <vt:lpstr>Arial</vt:lpstr>
      <vt:lpstr>Votorantim Sans Medium</vt:lpstr>
      <vt:lpstr>Lato</vt:lpstr>
      <vt:lpstr>ClanPro-Bold</vt:lpstr>
      <vt:lpstr>Verdana Regular</vt:lpstr>
      <vt:lpstr>Tema de Office</vt:lpstr>
      <vt:lpstr>5_Office Theme</vt:lpstr>
      <vt:lpstr>1_Tema de Office</vt:lpstr>
      <vt:lpstr>Slide do think-cell</vt:lpstr>
      <vt:lpstr>Diapositiva de think-cell</vt:lpstr>
      <vt:lpstr>Worksheet</vt:lpstr>
      <vt:lpstr>Presentación de PowerPoint</vt:lpstr>
      <vt:lpstr>Presentación de PowerPoint</vt:lpstr>
      <vt:lpstr>Presentación de PowerPoint</vt:lpstr>
      <vt:lpstr>Presentación de PowerPoint</vt:lpstr>
      <vt:lpstr>Presentación de PowerPoint</vt:lpstr>
      <vt:lpstr>Presentación de PowerPoint</vt:lpstr>
      <vt:lpstr>Actualmente recirculamos más del 90% de toda el agua utilizada en Cerro Lind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Bruno Vinicius Carrilho De Souza</dc:creator>
  <cp:lastModifiedBy>Magaly Bardales Rojas</cp:lastModifiedBy>
  <cp:revision>235</cp:revision>
  <dcterms:created xsi:type="dcterms:W3CDTF">2022-06-24T19:46:58Z</dcterms:created>
  <dcterms:modified xsi:type="dcterms:W3CDTF">2024-09-10T02:3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E3158C03EAE643862CB19054AB5722</vt:lpwstr>
  </property>
</Properties>
</file>